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1" r:id="rId1"/>
    <p:sldMasterId id="2147483924" r:id="rId2"/>
    <p:sldMasterId id="2147483851" r:id="rId3"/>
    <p:sldMasterId id="2147483849" r:id="rId4"/>
    <p:sldMasterId id="2147484090" r:id="rId5"/>
    <p:sldMasterId id="2147484104" r:id="rId6"/>
  </p:sldMasterIdLst>
  <p:notesMasterIdLst>
    <p:notesMasterId r:id="rId18"/>
  </p:notesMasterIdLst>
  <p:handoutMasterIdLst>
    <p:handoutMasterId r:id="rId19"/>
  </p:handoutMasterIdLst>
  <p:sldIdLst>
    <p:sldId id="572" r:id="rId7"/>
    <p:sldId id="585" r:id="rId8"/>
    <p:sldId id="578" r:id="rId9"/>
    <p:sldId id="588" r:id="rId10"/>
    <p:sldId id="582" r:id="rId11"/>
    <p:sldId id="583" r:id="rId12"/>
    <p:sldId id="584" r:id="rId13"/>
    <p:sldId id="581" r:id="rId14"/>
    <p:sldId id="587" r:id="rId15"/>
    <p:sldId id="591" r:id="rId16"/>
    <p:sldId id="592" r:id="rId17"/>
  </p:sldIdLst>
  <p:sldSz cx="12192000" cy="6858000"/>
  <p:notesSz cx="6669088" cy="9775825"/>
  <p:custDataLst>
    <p:tags r:id="rId20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9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vetlana Anufrieva" initials="SA" lastIdx="2" clrIdx="0">
    <p:extLst>
      <p:ext uri="{19B8F6BF-5375-455C-9EA6-DF929625EA0E}">
        <p15:presenceInfo xmlns:p15="http://schemas.microsoft.com/office/powerpoint/2012/main" userId="Svetlana Anufriev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841A"/>
    <a:srgbClr val="0097A9"/>
    <a:srgbClr val="99D5DD"/>
    <a:srgbClr val="63B884"/>
    <a:srgbClr val="F7F7F7"/>
    <a:srgbClr val="EBC577"/>
    <a:srgbClr val="9AAEC1"/>
    <a:srgbClr val="F0F0F0"/>
    <a:srgbClr val="000001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44" autoAdjust="0"/>
    <p:restoredTop sz="94434" autoAdjust="0"/>
  </p:normalViewPr>
  <p:slideViewPr>
    <p:cSldViewPr snapToGrid="0" showGuides="1">
      <p:cViewPr>
        <p:scale>
          <a:sx n="57" d="100"/>
          <a:sy n="57" d="100"/>
        </p:scale>
        <p:origin x="956" y="20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79" d="100"/>
          <a:sy n="79" d="100"/>
        </p:scale>
        <p:origin x="3828" y="102"/>
      </p:cViewPr>
      <p:guideLst>
        <p:guide orient="horz" pos="3079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lt1"/>
            </a:solidFill>
            <a:ln w="19050">
              <a:noFill/>
            </a:ln>
            <a:effectLst/>
          </c:spPr>
          <c:dPt>
            <c:idx val="0"/>
            <c:bubble3D val="0"/>
            <c:spPr>
              <a:solidFill>
                <a:srgbClr val="00A3E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77-483D-A60B-070260FE0D40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77-483D-A60B-070260FE0D40}"/>
              </c:ext>
            </c:extLst>
          </c:dPt>
          <c:dLbls>
            <c:dLbl>
              <c:idx val="0"/>
              <c:layout>
                <c:manualLayout>
                  <c:x val="0.16690531828986058"/>
                  <c:y val="-0.1783974080677719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lang="uk-UA" sz="1050" b="0" i="0" u="none" strike="noStrike" kern="1200" baseline="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050" baseline="0" noProof="0" dirty="0" smtClean="0">
                        <a:solidFill>
                          <a:schemeClr val="tx1"/>
                        </a:solidFill>
                      </a:rPr>
                      <a:t>ТОП-менеджмент</a:t>
                    </a:r>
                    <a:r>
                      <a:rPr lang="ru-RU" sz="1050" baseline="0" noProof="0" dirty="0">
                        <a:solidFill>
                          <a:schemeClr val="tx1"/>
                        </a:solidFill>
                      </a:rPr>
                      <a:t>
</a:t>
                    </a:r>
                    <a:fld id="{67DE9AFC-5B8A-4663-A773-21B34B34C8B6}" type="PERCENTAGE">
                      <a:rPr lang="en-US" sz="1050" baseline="0" noProof="0">
                        <a:solidFill>
                          <a:schemeClr val="tx1"/>
                        </a:solidFill>
                      </a:rPr>
                      <a:pPr>
                        <a:defRPr lang="uk-UA" sz="1050" b="0" noProof="0">
                          <a:solidFill>
                            <a:schemeClr val="tx1"/>
                          </a:solidFill>
                        </a:defRPr>
                      </a:pPr>
                      <a:t>[PERCENTAGE]</a:t>
                    </a:fld>
                    <a:endParaRPr lang="ru-RU" sz="1050" baseline="0" noProof="0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uk-UA" sz="1050" b="0" i="0" u="none" strike="noStrike" kern="1200" baseline="0" noProof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109086629001882"/>
                      <c:h val="0.2538654320987654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E77-483D-A60B-070260FE0D40}"/>
                </c:ext>
              </c:extLst>
            </c:dLbl>
            <c:dLbl>
              <c:idx val="1"/>
              <c:layout>
                <c:manualLayout>
                  <c:x val="-0.18639587349810174"/>
                  <c:y val="0.1557515432098765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5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50" baseline="0" dirty="0" smtClean="0">
                        <a:solidFill>
                          <a:schemeClr val="tx1"/>
                        </a:solidFill>
                      </a:rPr>
                      <a:t>HR- </a:t>
                    </a:r>
                    <a:r>
                      <a:rPr lang="ru-RU" sz="1050" baseline="0" dirty="0" err="1" smtClean="0">
                        <a:solidFill>
                          <a:schemeClr val="tx1"/>
                        </a:solidFill>
                      </a:rPr>
                      <a:t>експерти</a:t>
                    </a:r>
                    <a:r>
                      <a:rPr lang="ru-RU" sz="1050" baseline="0" dirty="0"/>
                      <a:t>
</a:t>
                    </a:r>
                    <a:fld id="{2DCDC167-F999-460B-8723-0A7AE8D70D58}" type="PERCENTAGE">
                      <a:rPr lang="en-US" sz="1050" baseline="0"/>
                      <a:pPr>
                        <a:defRPr sz="1050" b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defRPr>
                      </a:pPr>
                      <a:t>[PERCENTAGE]</a:t>
                    </a:fld>
                    <a:endParaRPr lang="ru-RU" sz="105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956891101718914"/>
                      <c:h val="0.2538653994576431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E77-483D-A60B-070260FE0D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accent1">
                      <a:lumMod val="60000"/>
                      <a:lumOff val="4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ТОП-менеджмент</c:v>
                </c:pt>
                <c:pt idx="1">
                  <c:v>HR-експерти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8</c:v>
                </c:pt>
                <c:pt idx="1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77-483D-A60B-070260FE0D4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rgbClr val="F7F7F7">
        <a:alpha val="0"/>
      </a:srgb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0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064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>
      <cs:styleClr val="0"/>
    </cs:lnRef>
    <cs:fillRef idx="0"/>
    <cs:effectRef idx="0"/>
    <cs:fontRef idx="minor">
      <cs:styleClr val="0"/>
    </cs:fontRef>
    <cs:defRPr sz="1197" b="1" kern="1200"/>
  </cs:dataLabel>
  <cs:dataLabelCallout>
    <cs:lnRef idx="0">
      <cs:styleClr val="0"/>
    </cs:lnRef>
    <cs:fillRef idx="0"/>
    <cs:effectRef idx="0"/>
    <cs:fontRef idx="minor">
      <cs:styleClr val="0"/>
    </cs:fontRef>
    <cs:spPr>
      <a:solidFill>
        <a:schemeClr val="lt1"/>
      </a:solidFill>
      <a:ln>
        <a:solidFill>
          <a:schemeClr val="phClr"/>
        </a:solidFill>
      </a:ln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0"/>
    </cs:lnRef>
    <cs:fillRef idx="0"/>
    <cs:effectRef idx="0"/>
    <cs:fontRef idx="minor">
      <a:schemeClr val="dk1"/>
    </cs:fontRef>
    <cs:spPr>
      <a:solidFill>
        <a:schemeClr val="lt1"/>
      </a:solidFill>
      <a:ln w="19050"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890137" cy="488261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460" y="1"/>
            <a:ext cx="2890137" cy="488261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7/05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286050"/>
            <a:ext cx="2890137" cy="488261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460" y="9286050"/>
            <a:ext cx="2890137" cy="488261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88791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8" y="1"/>
            <a:ext cx="2889938" cy="488791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7/0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8" y="733425"/>
            <a:ext cx="6513512" cy="36639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43518"/>
            <a:ext cx="5335270" cy="4399121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85339"/>
            <a:ext cx="2889938" cy="488791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8" y="9285339"/>
            <a:ext cx="2889938" cy="488791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8" y="733425"/>
            <a:ext cx="6513512" cy="3663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1847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457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431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85877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234289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840766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222279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209041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975662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88521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192030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233478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53502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rgbClr val="FFFFFF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6391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665093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41317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rgbClr val="FFFFFF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513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8571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5137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0" y="1705670"/>
            <a:ext cx="111887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0" y="3429000"/>
            <a:ext cx="111887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1757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78609" y="1709363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693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836"/>
            <a:ext cx="1125220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400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2363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16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rgbClr val="86BC25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8981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326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007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255"/>
            <a:ext cx="5526904" cy="458825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193609" y="1708255"/>
            <a:ext cx="5528491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666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sub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8922"/>
            <a:ext cx="6116870" cy="45873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835"/>
            <a:ext cx="4333663" cy="459036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902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8" y="1708922"/>
            <a:ext cx="6116870" cy="45873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835"/>
            <a:ext cx="4333663" cy="459036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9017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54099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119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ith imag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5535612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553561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184900" y="388938"/>
            <a:ext cx="5536838" cy="590735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248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8609" y="1708966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331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6709" y="2054581"/>
            <a:ext cx="11245391" cy="389337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6709" y="1703361"/>
            <a:ext cx="11252200" cy="357187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4539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628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184900" y="2055224"/>
            <a:ext cx="5537200" cy="388402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184900" y="1696757"/>
            <a:ext cx="5545910" cy="358467"/>
          </a:xfrm>
        </p:spPr>
        <p:txBody>
          <a:bodyPr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78609" y="2055224"/>
            <a:ext cx="5526904" cy="388402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78607" y="1708018"/>
            <a:ext cx="5526906" cy="348872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36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rgbClr val="86BC25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6798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78609" y="1708017"/>
            <a:ext cx="5526904" cy="4231229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187330" y="2055341"/>
            <a:ext cx="5526060" cy="3883905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187329" y="1699308"/>
            <a:ext cx="5526061" cy="356033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899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6709" y="2095543"/>
            <a:ext cx="3620628" cy="385241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6708" y="1702690"/>
            <a:ext cx="3620629" cy="373803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87291" y="2095543"/>
            <a:ext cx="3627984" cy="385241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87291" y="1702690"/>
            <a:ext cx="3627984" cy="373803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95668" y="2095543"/>
            <a:ext cx="3626432" cy="3852411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95668" y="1702690"/>
            <a:ext cx="3633242" cy="37966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76709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4234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093075" y="1704481"/>
            <a:ext cx="3629024" cy="4594720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8609" y="1708017"/>
            <a:ext cx="7436666" cy="459118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596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69899" y="1880212"/>
            <a:ext cx="1728000" cy="172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479248" y="1880212"/>
            <a:ext cx="9242851" cy="1944000"/>
          </a:xfrm>
        </p:spPr>
        <p:txBody>
          <a:bodyPr/>
          <a:lstStyle>
            <a:lvl1pPr>
              <a:spcAft>
                <a:spcPts val="0"/>
              </a:spcAft>
              <a:defRPr sz="1200" b="0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469900" y="3787131"/>
            <a:ext cx="1724025" cy="964604"/>
          </a:xfrm>
        </p:spPr>
        <p:txBody>
          <a:bodyPr/>
          <a:lstStyle>
            <a:lvl1pPr>
              <a:spcAft>
                <a:spcPts val="0"/>
              </a:spcAft>
              <a:defRPr sz="1200" b="0"/>
            </a:lvl1pPr>
            <a:lvl2pPr>
              <a:spcAft>
                <a:spcPts val="0"/>
              </a:spcAft>
              <a:defRPr sz="1200" b="0"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1396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830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6074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9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777807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rgbClr val="FFFFFF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8947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0" y="1705670"/>
            <a:ext cx="111887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0" y="3429000"/>
            <a:ext cx="111887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18505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 bwMode="gray">
          <a:xfrm>
            <a:off x="469898" y="1700213"/>
            <a:ext cx="10800000" cy="1592403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8" y="3423545"/>
            <a:ext cx="10800000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69307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3384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whi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2776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45281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rgbClr val="FFFFFF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9368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0" y="1705670"/>
            <a:ext cx="111887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0" y="3429000"/>
            <a:ext cx="111887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9503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 bwMode="gray">
          <a:xfrm>
            <a:off x="469898" y="1700213"/>
            <a:ext cx="10800000" cy="1592403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8" y="3423545"/>
            <a:ext cx="10800000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202452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708966"/>
            <a:ext cx="9029604" cy="47085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216126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 smtClean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19458855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9501840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223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390346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6654361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198" y="326142"/>
            <a:ext cx="11201795" cy="6921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9652468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109244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1471762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6654038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530174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695688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92405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5112900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2323900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27762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45281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FFFF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2784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561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73997"/>
            <a:ext cx="6240000" cy="47164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</a:lstStyle>
          <a:p>
            <a:r>
              <a:rPr lang="en-US" noProof="0" dirty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13263" y="1673997"/>
            <a:ext cx="4456429" cy="47164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5029200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5029200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5029200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5029200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503322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291" algn="r"/>
              </a:tabLst>
              <a:defRPr/>
            </a:lvl1pPr>
            <a:lvl2pPr>
              <a:tabLst>
                <a:tab pos="8972291" algn="r"/>
              </a:tabLst>
              <a:defRPr/>
            </a:lvl2pPr>
            <a:lvl3pPr>
              <a:tabLst>
                <a:tab pos="8972291" algn="r"/>
              </a:tabLst>
              <a:defRPr/>
            </a:lvl3pPr>
            <a:lvl4pPr>
              <a:tabLst>
                <a:tab pos="8972291" algn="r"/>
              </a:tabLst>
              <a:defRPr/>
            </a:lvl4pPr>
            <a:lvl5pPr>
              <a:tabLst>
                <a:tab pos="6705406" algn="r"/>
              </a:tabLst>
              <a:defRPr baseline="0"/>
            </a:lvl5pPr>
            <a:lvl6pPr>
              <a:tabLst>
                <a:tab pos="8972291" algn="r"/>
              </a:tabLst>
              <a:defRPr/>
            </a:lvl6pPr>
            <a:lvl7pPr>
              <a:tabLst>
                <a:tab pos="8972291" algn="r"/>
              </a:tabLst>
              <a:defRPr/>
            </a:lvl7pPr>
            <a:lvl8pPr>
              <a:tabLst>
                <a:tab pos="8972291" algn="r"/>
              </a:tabLst>
              <a:defRPr/>
            </a:lvl8pPr>
            <a:lvl9pPr>
              <a:tabLst>
                <a:tab pos="8972291" algn="r"/>
              </a:tabLst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9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9793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617828" y="6407837"/>
            <a:ext cx="1056116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1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65372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06122" y="315073"/>
            <a:ext cx="11195724" cy="14867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3185" y="1810606"/>
            <a:ext cx="11205633" cy="436159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534988" indent="-173038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1439765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sub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2574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48.xml"/><Relationship Id="rId3" Type="http://schemas.openxmlformats.org/officeDocument/2006/relationships/slideLayout" Target="../slideLayouts/slideLayout12.xml"/><Relationship Id="rId21" Type="http://schemas.openxmlformats.org/officeDocument/2006/relationships/slideLayout" Target="../slideLayouts/slideLayout30.xml"/><Relationship Id="rId34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51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47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38.xml"/><Relationship Id="rId41" Type="http://schemas.openxmlformats.org/officeDocument/2006/relationships/slideLayout" Target="../slideLayouts/slideLayout50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41.xml"/><Relationship Id="rId37" Type="http://schemas.openxmlformats.org/officeDocument/2006/relationships/slideLayout" Target="../slideLayouts/slideLayout46.xml"/><Relationship Id="rId40" Type="http://schemas.openxmlformats.org/officeDocument/2006/relationships/slideLayout" Target="../slideLayouts/slideLayout49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31" Type="http://schemas.openxmlformats.org/officeDocument/2006/relationships/slideLayout" Target="../slideLayouts/slideLayout40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5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deloitte" TargetMode="External"/><Relationship Id="rId3" Type="http://schemas.openxmlformats.org/officeDocument/2006/relationships/vmlDrawing" Target="../drawings/vmlDrawing3.vml"/><Relationship Id="rId7" Type="http://schemas.openxmlformats.org/officeDocument/2006/relationships/hyperlink" Target="https://www.facebook.com/deloitte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Relationship Id="rId9" Type="http://schemas.openxmlformats.org/officeDocument/2006/relationships/hyperlink" Target="https://twitter.com/deloitte" TargetMode="Externa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49327026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78609" y="1708835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0670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90" r:id="rId5"/>
    <p:sldLayoutId id="2147483891" r:id="rId6"/>
    <p:sldLayoutId id="2147483892" r:id="rId7"/>
    <p:sldLayoutId id="2147483894" r:id="rId8"/>
    <p:sldLayoutId id="2147483966" r:id="rId9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4010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8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orient="horz" pos="4140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uk-U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uk-U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CFF318-F727-447A-9004-CE0C48EF8F5D}" type="datetimeFigureOut">
              <a:rPr lang="uk-UA" smtClean="0"/>
              <a:t>17.05.2018</a:t>
            </a:fld>
            <a:endParaRPr lang="uk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EF9113-0904-4E72-9A8A-FC294650923E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324844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67" r:id="rId12"/>
    <p:sldLayoutId id="2147483968" r:id="rId13"/>
    <p:sldLayoutId id="2147483969" r:id="rId14"/>
    <p:sldLayoutId id="2147483982" r:id="rId15"/>
    <p:sldLayoutId id="2147483984" r:id="rId16"/>
    <p:sldLayoutId id="2147483941" r:id="rId17"/>
    <p:sldLayoutId id="2147483942" r:id="rId18"/>
    <p:sldLayoutId id="2147483943" r:id="rId19"/>
    <p:sldLayoutId id="2147483944" r:id="rId20"/>
    <p:sldLayoutId id="2147483945" r:id="rId21"/>
    <p:sldLayoutId id="2147483946" r:id="rId22"/>
    <p:sldLayoutId id="2147483947" r:id="rId23"/>
    <p:sldLayoutId id="2147483948" r:id="rId24"/>
    <p:sldLayoutId id="2147483949" r:id="rId25"/>
    <p:sldLayoutId id="2147483950" r:id="rId26"/>
    <p:sldLayoutId id="2147483951" r:id="rId27"/>
    <p:sldLayoutId id="2147483952" r:id="rId28"/>
    <p:sldLayoutId id="2147483953" r:id="rId29"/>
    <p:sldLayoutId id="2147483954" r:id="rId30"/>
    <p:sldLayoutId id="2147483955" r:id="rId31"/>
    <p:sldLayoutId id="2147483956" r:id="rId32"/>
    <p:sldLayoutId id="2147483957" r:id="rId33"/>
    <p:sldLayoutId id="2147483958" r:id="rId34"/>
    <p:sldLayoutId id="2147483959" r:id="rId35"/>
    <p:sldLayoutId id="2147483960" r:id="rId36"/>
    <p:sldLayoutId id="2147483961" r:id="rId37"/>
    <p:sldLayoutId id="2147484012" r:id="rId38"/>
    <p:sldLayoutId id="2147484013" r:id="rId39"/>
    <p:sldLayoutId id="2147484014" r:id="rId40"/>
    <p:sldLayoutId id="2147484027" r:id="rId41"/>
    <p:sldLayoutId id="2147484028" r:id="rId42"/>
    <p:sldLayoutId id="2147484029" r:id="rId4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7626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5" r:id="rId2"/>
    <p:sldLayoutId id="2147483886" r:id="rId3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3968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1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orient="horz" pos="4136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41256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6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7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19" name="TextBox 18"/>
          <p:cNvSpPr txBox="1"/>
          <p:nvPr userDrawn="1"/>
        </p:nvSpPr>
        <p:spPr>
          <a:xfrm>
            <a:off x="470716" y="3983171"/>
            <a:ext cx="7444559" cy="2600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loitte.r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 «</a:t>
            </a:r>
            <a:r>
              <a:rPr kumimoji="0" lang="ru-RU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е</a:t>
            </a:r>
            <a:r>
              <a:rPr kumimoji="0" lang="ru-RU" sz="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именование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 относится к одному либо любому количеству юридических лиц, включая их аффилированные лица, совместно входящих в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Туш 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омацу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Лимитед», частную компанию с ответственностью участников в гарантированных ими пределах, зарегистрированную в соответствии с законодательством Великобритании (далее — ДТТЛ). Каждое такое юридическое лицо является самостоятельным и независимым юридическим лицом. ДТТЛ (также именуемая «международная сеть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) не предоставляет услуги клиентам напрямую. Подробная информация о юридической структуре ДТТЛ и входящих в нее юридических лиц представлена на сайте www.deloitte.com/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bout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 предоставляет услуги в области аудита, консалтинга, финансового консультирования, управления рисками, налогообложения и иные услуги государственным и частным компаниям, работающим в различных отраслях экономики.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 — международная сеть компаний, в число клиентов которой входят около четырехсот из пятисот крупнейших компаний мира по версии журнала 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rtune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 имеет многолетний опыт практической работы при обслуживании клиентов в любых сферах деятельности более чем в 150 странах мира и использует свои обширные отраслевые знания и опыт оказания высококачественных услуг для решения самых сложных бизнес-задач клиентов. Более 244 тысяч специалистов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а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 по всему миру привержены идеям достижения результатов, которыми мы можем гордиться. Для получения более подробной информации заходите на нашу страницу в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Facebook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LinkedIn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ли </a:t>
            </a:r>
            <a:r>
              <a:rPr lang="en-US" sz="7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Twitter</a:t>
            </a:r>
            <a:r>
              <a:rPr lang="ru-RU" sz="7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kumimoji="0" lang="ru-RU" sz="7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стоящее сообщение содержит информацию только общего характера. При этом ни компания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Туш 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омацу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Лимитед», ни входящие в нее юридические лица, ни их аффилированные лица (далее — «сеть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) не представляют посредством данного сообщения каких-либо консультаций или услуг профессионального характера. Прежде чем принять какое-либо решение или предпринять какие-либо действия, которые могут отразиться на вашем финансовом положении или состоянии дел, проконсультируйтесь с квалифицированным специалистом. Ни одно из юридических лиц, входящих в сеть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», не несет ответственности за какие-либо убытки, понесенные любым лицом, использующим настоящее сообщение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17 ООО «</a:t>
            </a:r>
            <a:r>
              <a:rPr kumimoji="0" lang="ru-RU" sz="7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елойт</a:t>
            </a:r>
            <a:r>
              <a:rPr kumimoji="0" lang="ru-RU" sz="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Консалтинг». Все права защищены.</a:t>
            </a:r>
            <a:endParaRPr kumimoji="0" lang="en-US" sz="7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878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600"/>
        </a:spcAft>
        <a:buClrTx/>
        <a:buSzTx/>
        <a:buFontTx/>
        <a:buNone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3968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1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orient="horz" pos="4136" userDrawn="1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7/0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8298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6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121" y="1594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1" y="1594"/>
                        <a:ext cx="211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4198" y="326143"/>
            <a:ext cx="11201797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94198" y="1708495"/>
            <a:ext cx="11201797" cy="46728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8997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</p:sldLayoutIdLst>
  <p:transition>
    <p:fade/>
  </p:transition>
  <p:hf hdr="0" dt="0"/>
  <p:txStyles>
    <p:titleStyle>
      <a:lvl1pPr algn="l" defTabSz="898692" rtl="0" eaLnBrk="1" latinLnBrk="0" hangingPunct="1">
        <a:spcBef>
          <a:spcPct val="0"/>
        </a:spcBef>
        <a:buNone/>
        <a:defRPr sz="18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98692" rtl="0" eaLnBrk="1" latinLnBrk="0" hangingPunct="1">
        <a:spcBef>
          <a:spcPts val="0"/>
        </a:spcBef>
        <a:spcAft>
          <a:spcPts val="982"/>
        </a:spcAft>
        <a:buSzPct val="100000"/>
        <a:buFont typeface="Arial" panose="020B0604020202020204" pitchFamily="34" charset="0"/>
        <a:buNone/>
        <a:defRPr sz="90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898692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/>
        <a:buNone/>
        <a:defRPr lang="en-US" sz="907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3370" indent="-173370" algn="l" defTabSz="898692" rtl="0" eaLnBrk="1" latinLnBrk="0" hangingPunct="1">
        <a:spcBef>
          <a:spcPts val="0"/>
        </a:spcBef>
        <a:spcAft>
          <a:spcPts val="982"/>
        </a:spcAft>
        <a:buClrTx/>
        <a:buSzPct val="100000"/>
        <a:buFont typeface="Arial" panose="020B0604020202020204" pitchFamily="34" charset="0"/>
        <a:buChar char="•"/>
        <a:defRPr lang="en-US" sz="907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0279" indent="-173370" algn="l" defTabSz="898692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23646" indent="-173370" algn="l" defTabSz="784796" rtl="0" eaLnBrk="1" latinLnBrk="0" hangingPunct="1">
        <a:spcBef>
          <a:spcPts val="0"/>
        </a:spcBef>
        <a:spcAft>
          <a:spcPts val="982"/>
        </a:spcAft>
        <a:buClrTx/>
        <a:buSzPct val="100000"/>
        <a:buFont typeface="Verdana" panose="020B0604030504040204" pitchFamily="34" charset="0"/>
        <a:buChar char="−"/>
        <a:tabLst/>
        <a:defRPr lang="en-US" sz="907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23646" indent="-173370" algn="l" defTabSz="898692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23646" indent="-173370" algn="l" defTabSz="898692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>
          <a:solidFill>
            <a:schemeClr val="tx1"/>
          </a:solidFill>
          <a:latin typeface="+mn-lt"/>
          <a:ea typeface="+mn-ea"/>
          <a:cs typeface="+mn-cs"/>
        </a:defRPr>
      </a:lvl7pPr>
      <a:lvl8pPr marL="523646" indent="-173370" algn="l" defTabSz="898692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23646" indent="-173370" algn="l" defTabSz="898692" rtl="0" eaLnBrk="1" latinLnBrk="0" hangingPunct="1">
        <a:spcBef>
          <a:spcPts val="0"/>
        </a:spcBef>
        <a:spcAft>
          <a:spcPts val="982"/>
        </a:spcAft>
        <a:buFont typeface="Verdana" panose="020B0604030504040204" pitchFamily="34" charset="0"/>
        <a:buChar char="−"/>
        <a:defRPr sz="1179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1pPr>
      <a:lvl2pPr marL="449347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2pPr>
      <a:lvl3pPr marL="898692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3pPr>
      <a:lvl4pPr marL="1348038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4pPr>
      <a:lvl5pPr marL="1797383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5pPr>
      <a:lvl6pPr marL="2246730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6pPr>
      <a:lvl7pPr marL="2696075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7pPr>
      <a:lvl8pPr marL="3145419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8pPr>
      <a:lvl9pPr marL="3594766" algn="l" defTabSz="898692" rtl="0" eaLnBrk="1" latinLnBrk="0" hangingPunct="1">
        <a:defRPr sz="17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473">
          <p15:clr>
            <a:srgbClr val="A4A3A4"/>
          </p15:clr>
        </p15:guide>
        <p15:guide id="2" orient="horz" pos="2381">
          <p15:clr>
            <a:srgbClr val="A4A3A4"/>
          </p15:clr>
        </p15:guide>
        <p15:guide id="3" orient="horz" pos="4431">
          <p15:clr>
            <a:srgbClr val="A4A3A4"/>
          </p15:clr>
        </p15:guide>
        <p15:guide id="4" pos="273">
          <p15:clr>
            <a:srgbClr val="A4A3A4"/>
          </p15:clr>
        </p15:guide>
        <p15:guide id="5" pos="6461">
          <p15:clr>
            <a:srgbClr val="A4A3A4"/>
          </p15:clr>
        </p15:guide>
        <p15:guide id="6" orient="horz" pos="1180">
          <p15:clr>
            <a:srgbClr val="A4A3A4"/>
          </p15:clr>
        </p15:guide>
        <p15:guide id="7" orient="horz" pos="220">
          <p15:clr>
            <a:srgbClr val="A4A3A4"/>
          </p15:clr>
        </p15:guide>
        <p15:guide id="8" orient="horz" pos="4497">
          <p15:clr>
            <a:srgbClr val="A4A3A4"/>
          </p15:clr>
        </p15:guide>
        <p15:guide id="9" pos="4360">
          <p15:clr>
            <a:srgbClr val="A4A3A4"/>
          </p15:clr>
        </p15:guide>
        <p15:guide id="10" orient="horz" pos="260">
          <p15:clr>
            <a:srgbClr val="A4A3A4"/>
          </p15:clr>
        </p15:guide>
        <p15:guide id="11" pos="1211">
          <p15:clr>
            <a:srgbClr val="A4A3A4"/>
          </p15:clr>
        </p15:guide>
        <p15:guide id="12" pos="1322">
          <p15:clr>
            <a:srgbClr val="A4A3A4"/>
          </p15:clr>
        </p15:guide>
        <p15:guide id="13" pos="2260">
          <p15:clr>
            <a:srgbClr val="A4A3A4"/>
          </p15:clr>
        </p15:guide>
        <p15:guide id="14" pos="2373">
          <p15:clr>
            <a:srgbClr val="A4A3A4"/>
          </p15:clr>
        </p15:guide>
        <p15:guide id="15" pos="5410">
          <p15:clr>
            <a:srgbClr val="A4A3A4"/>
          </p15:clr>
        </p15:guide>
        <p15:guide id="16" pos="3307">
          <p15:clr>
            <a:srgbClr val="A4A3A4"/>
          </p15:clr>
        </p15:guide>
        <p15:guide id="17" pos="3424">
          <p15:clr>
            <a:srgbClr val="A4A3A4"/>
          </p15:clr>
        </p15:guide>
        <p15:guide id="18" pos="3368">
          <p15:clr>
            <a:srgbClr val="A4A3A4"/>
          </p15:clr>
        </p15:guide>
        <p15:guide id="19" pos="5524">
          <p15:clr>
            <a:srgbClr val="A4A3A4"/>
          </p15:clr>
        </p15:guide>
        <p15:guide id="21" orient="horz" pos="70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jpg"/><Relationship Id="rId7" Type="http://schemas.openxmlformats.org/officeDocument/2006/relationships/image" Target="../media/image22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21.JPG"/><Relationship Id="rId5" Type="http://schemas.openxmlformats.org/officeDocument/2006/relationships/image" Target="../media/image20.jpg"/><Relationship Id="rId4" Type="http://schemas.openxmlformats.org/officeDocument/2006/relationships/image" Target="../media/image19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image" Target="../media/image7.png"/><Relationship Id="rId7" Type="http://schemas.openxmlformats.org/officeDocument/2006/relationships/image" Target="../media/image11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0.jpg"/><Relationship Id="rId11" Type="http://schemas.openxmlformats.org/officeDocument/2006/relationships/image" Target="../media/image15.jpg"/><Relationship Id="rId5" Type="http://schemas.openxmlformats.org/officeDocument/2006/relationships/image" Target="../media/image9.png"/><Relationship Id="rId10" Type="http://schemas.openxmlformats.org/officeDocument/2006/relationships/image" Target="../media/image14.jpg"/><Relationship Id="rId4" Type="http://schemas.openxmlformats.org/officeDocument/2006/relationships/image" Target="../media/image8.png"/><Relationship Id="rId9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0000"/>
            <a:ext cx="12192000" cy="5588000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53974" y="6152945"/>
            <a:ext cx="10527097" cy="505645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іжнародне дослідження Deloitte «Тенденції у сфері управління персоналом — 2018»</a:t>
            </a:r>
          </a:p>
          <a:p>
            <a:pPr>
              <a:spcBef>
                <a:spcPts val="0"/>
              </a:spcBef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lobal Human Capital Trends 2018</a:t>
            </a:r>
          </a:p>
        </p:txBody>
      </p:sp>
    </p:spTree>
    <p:extLst>
      <p:ext uri="{BB962C8B-B14F-4D97-AF65-F5344CB8AC3E}">
        <p14:creationId xmlns:p14="http://schemas.microsoft.com/office/powerpoint/2010/main" val="1382267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10</a:t>
            </a:fld>
            <a:endParaRPr lang="uk-UA"/>
          </a:p>
        </p:txBody>
      </p:sp>
      <p:sp>
        <p:nvSpPr>
          <p:cNvPr id="5" name="Subtitle 3"/>
          <p:cNvSpPr txBox="1">
            <a:spLocks/>
          </p:cNvSpPr>
          <p:nvPr/>
        </p:nvSpPr>
        <p:spPr>
          <a:xfrm>
            <a:off x="306728" y="262098"/>
            <a:ext cx="10648487" cy="505645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lobal Human Capital Trends 2018</a:t>
            </a:r>
          </a:p>
          <a:p>
            <a:pPr>
              <a:spcBef>
                <a:spcPts val="0"/>
              </a:spcBef>
            </a:pPr>
            <a:r>
              <a:rPr lang="uk-UA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ультати дослідження – Зручний формат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7721" y="1301856"/>
            <a:ext cx="4520381" cy="452038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11686" t="10476" r="45231" b="8496"/>
          <a:stretch/>
        </p:blipFill>
        <p:spPr>
          <a:xfrm>
            <a:off x="535327" y="1906860"/>
            <a:ext cx="3244938" cy="4047893"/>
          </a:xfrm>
          <a:prstGeom prst="round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83895" y="1093325"/>
            <a:ext cx="46319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92D050"/>
                </a:solidFill>
              </a:rPr>
              <a:t>https://hctrendsapp.deloitte.com/</a:t>
            </a:r>
          </a:p>
        </p:txBody>
      </p:sp>
    </p:spTree>
    <p:extLst>
      <p:ext uri="{BB962C8B-B14F-4D97-AF65-F5344CB8AC3E}">
        <p14:creationId xmlns:p14="http://schemas.microsoft.com/office/powerpoint/2010/main" val="15297350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5603"/>
            <a:ext cx="12192000" cy="5588000"/>
          </a:xfrm>
          <a:prstGeom prst="rect">
            <a:avLst/>
          </a:prstGeom>
        </p:spPr>
      </p:pic>
      <p:sp>
        <p:nvSpPr>
          <p:cNvPr id="9" name="Subtitle 3"/>
          <p:cNvSpPr txBox="1">
            <a:spLocks/>
          </p:cNvSpPr>
          <p:nvPr/>
        </p:nvSpPr>
        <p:spPr>
          <a:xfrm>
            <a:off x="306728" y="262098"/>
            <a:ext cx="10648487" cy="505645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None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/>
              <a:buNone/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lang="en-US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10382" indent="-235194" algn="l" defTabSz="1219170" rtl="0" eaLnBrk="1" latinLnBrk="0" hangingPunct="1">
              <a:spcBef>
                <a:spcPts val="0"/>
              </a:spcBef>
              <a:spcAft>
                <a:spcPts val="1333"/>
              </a:spcAft>
              <a:buFont typeface="Verdana" panose="020B0604030504040204" pitchFamily="34" charset="0"/>
              <a:buChar char="−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lobal Human Capital Trends 2018</a:t>
            </a:r>
          </a:p>
          <a:p>
            <a:pPr>
              <a:spcBef>
                <a:spcPts val="0"/>
              </a:spcBef>
            </a:pPr>
            <a:r>
              <a:rPr lang="uk-UA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ультати дослідження в Україні</a:t>
            </a:r>
            <a:r>
              <a:rPr lang="en-US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uk-UA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орія </a:t>
            </a:r>
            <a:r>
              <a:rPr lang="en-US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s </a:t>
            </a:r>
            <a:r>
              <a:rPr lang="uk-UA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актик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6728" y="1600199"/>
            <a:ext cx="4265272" cy="36317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uk-UA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 червня 2018: </a:t>
            </a:r>
          </a:p>
          <a:p>
            <a:pPr>
              <a:spcBef>
                <a:spcPts val="600"/>
              </a:spcBef>
              <a:buSzPct val="100000"/>
            </a:pPr>
            <a:endParaRPr lang="uk-UA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600"/>
              </a:spcBef>
              <a:buSzPct val="100000"/>
            </a:pPr>
            <a:r>
              <a:rPr lang="uk-UA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зентація тенденцій дослідження на українському ринку</a:t>
            </a:r>
          </a:p>
          <a:p>
            <a:pPr>
              <a:spcBef>
                <a:spcPts val="600"/>
              </a:spcBef>
              <a:buSzPct val="100000"/>
            </a:pPr>
            <a:r>
              <a:rPr lang="uk-UA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</a:t>
            </a:r>
            <a:r>
              <a:rPr lang="uk-UA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</a:t>
            </a:r>
          </a:p>
          <a:p>
            <a:pPr>
              <a:spcBef>
                <a:spcPts val="600"/>
              </a:spcBef>
              <a:buSzPct val="100000"/>
            </a:pPr>
            <a:r>
              <a:rPr lang="uk-UA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</a:t>
            </a:r>
            <a:r>
              <a:rPr lang="uk-UA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ктичні-кейси від бізнесу у рамках сучасних змін </a:t>
            </a:r>
            <a:endParaRPr lang="en-US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06728" y="6226588"/>
            <a:ext cx="35942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</a:pPr>
            <a:r>
              <a:rPr lang="en-US" b="1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</a:t>
            </a:r>
            <a:r>
              <a:rPr lang="uk-UA" b="1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орія</a:t>
            </a:r>
            <a:r>
              <a:rPr lang="en-US" b="1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s</a:t>
            </a:r>
            <a:r>
              <a:rPr lang="uk-UA" b="1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актика</a:t>
            </a:r>
            <a:endParaRPr lang="uk-UA" b="1" dirty="0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8301247" y="1446616"/>
            <a:ext cx="3672834" cy="5236763"/>
            <a:chOff x="8301247" y="1446616"/>
            <a:chExt cx="3672834" cy="5236763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37" r="6017" b="6045"/>
            <a:stretch/>
          </p:blipFill>
          <p:spPr>
            <a:xfrm>
              <a:off x="8301247" y="1446616"/>
              <a:ext cx="804458" cy="858459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9220895" y="1493785"/>
              <a:ext cx="171142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b="1" dirty="0" err="1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Андр</a:t>
              </a:r>
              <a:r>
                <a:rPr lang="uk-UA" sz="1100" b="1" dirty="0" err="1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ій</a:t>
              </a:r>
              <a:r>
                <a:rPr lang="uk-UA" sz="1100" b="1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Булах</a:t>
              </a:r>
            </a:p>
            <a:p>
              <a:r>
                <a:rPr lang="uk-UA" sz="11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еруючий </a:t>
              </a:r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Партнер «</a:t>
              </a:r>
              <a:r>
                <a:rPr lang="uk-UA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Делойт</a:t>
              </a:r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» в Україні</a:t>
              </a: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78" r="3018"/>
            <a:stretch/>
          </p:blipFill>
          <p:spPr>
            <a:xfrm>
              <a:off x="8752328" y="2333955"/>
              <a:ext cx="815217" cy="866328"/>
            </a:xfrm>
            <a:prstGeom prst="rect">
              <a:avLst/>
            </a:prstGeom>
          </p:spPr>
        </p:pic>
        <p:sp>
          <p:nvSpPr>
            <p:cNvPr id="3" name="Rectangle 2"/>
            <p:cNvSpPr/>
            <p:nvPr/>
          </p:nvSpPr>
          <p:spPr>
            <a:xfrm>
              <a:off x="9706541" y="2359962"/>
              <a:ext cx="166583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uk-UA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Роман Бондар</a:t>
              </a:r>
            </a:p>
            <a:p>
              <a:pPr marL="0" lvl="1"/>
              <a:r>
                <a:rPr lang="ru-RU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</a:t>
              </a:r>
              <a:r>
                <a:rPr lang="uk-UA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еруючий</a:t>
              </a:r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Партнер</a:t>
              </a:r>
            </a:p>
            <a:p>
              <a:pPr marL="0" lvl="1"/>
              <a:r>
                <a:rPr lang="en-US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dgers</a:t>
              </a:r>
              <a:r>
                <a: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erndtson</a:t>
              </a:r>
              <a:r>
                <a: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ru-RU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 </a:t>
              </a:r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Україні</a:t>
              </a: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28"/>
            <a:stretch/>
          </p:blipFill>
          <p:spPr>
            <a:xfrm>
              <a:off x="8301247" y="3234408"/>
              <a:ext cx="809751" cy="854423"/>
            </a:xfrm>
            <a:prstGeom prst="rect">
              <a:avLst/>
            </a:prstGeom>
          </p:spPr>
        </p:pic>
        <p:sp>
          <p:nvSpPr>
            <p:cNvPr id="16" name="Rectangle 15"/>
            <p:cNvSpPr/>
            <p:nvPr/>
          </p:nvSpPr>
          <p:spPr>
            <a:xfrm>
              <a:off x="9220895" y="3340569"/>
              <a:ext cx="185612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uk-UA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Євгеній Бондаренко</a:t>
              </a:r>
            </a:p>
            <a:p>
              <a:pPr marL="0" lvl="1"/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Директор Академії ДТЕК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75" r="23361"/>
            <a:stretch/>
          </p:blipFill>
          <p:spPr>
            <a:xfrm>
              <a:off x="8752328" y="4117640"/>
              <a:ext cx="804458" cy="810569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9710928" y="4151899"/>
              <a:ext cx="2263153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uk-UA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Ольга </a:t>
              </a:r>
              <a:r>
                <a:rPr lang="uk-UA" sz="1100" b="1" dirty="0" err="1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Шамрицька</a:t>
              </a:r>
              <a:endPara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/>
              <a:r>
                <a:rPr lang="ru-RU" sz="11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Партнер </a:t>
              </a:r>
              <a:r>
                <a:rPr lang="ru-RU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департаменту </a:t>
              </a:r>
              <a:r>
                <a:rPr lang="ru-RU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аудиторських</a:t>
              </a:r>
              <a:r>
                <a:rPr lang="ru-RU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ru-RU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послуг</a:t>
              </a:r>
              <a:r>
                <a:rPr lang="ru-RU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uk-UA" sz="11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«</a:t>
              </a:r>
              <a:r>
                <a:rPr lang="uk-UA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Делойт</a:t>
              </a:r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» в Україні</a:t>
              </a: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79" b="22677"/>
            <a:stretch/>
          </p:blipFill>
          <p:spPr>
            <a:xfrm>
              <a:off x="8312426" y="4957019"/>
              <a:ext cx="810256" cy="858172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>
            <a:xfrm>
              <a:off x="9220895" y="5086023"/>
              <a:ext cx="2492569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uk-UA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Микола </a:t>
              </a:r>
              <a:r>
                <a:rPr lang="uk-UA" sz="1100" b="1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Штокало</a:t>
              </a:r>
              <a:endPara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/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еруючий </a:t>
              </a:r>
              <a:r>
                <a:rPr lang="ru-RU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партнер </a:t>
              </a:r>
            </a:p>
            <a:p>
              <a:pPr marL="0" lvl="1"/>
              <a:r>
                <a: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EADWAY Consulting</a:t>
              </a:r>
              <a:endParaRPr lang="uk-U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024" b="7946"/>
            <a:stretch/>
          </p:blipFill>
          <p:spPr>
            <a:xfrm>
              <a:off x="8757244" y="5840583"/>
              <a:ext cx="794626" cy="842796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9692364" y="5966231"/>
              <a:ext cx="2154449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/>
              <a:r>
                <a:rPr lang="uk-UA" sz="11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Іван </a:t>
              </a:r>
              <a:r>
                <a:rPr lang="uk-UA" sz="1100" b="1" dirty="0" err="1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омпан</a:t>
              </a:r>
              <a:endParaRPr lang="uk-UA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marL="0" lvl="1"/>
              <a:r>
                <a:rPr lang="ru-RU" sz="11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Директор </a:t>
              </a:r>
              <a:r>
                <a:rPr lang="ru-RU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Академії</a:t>
              </a:r>
              <a:r>
                <a:rPr lang="ru-RU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«</a:t>
              </a:r>
              <a:r>
                <a:rPr lang="uk-UA" sz="11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Делойт</a:t>
              </a:r>
              <a:r>
                <a:rPr lang="uk-UA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060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9900" y="665416"/>
            <a:ext cx="11252200" cy="757255"/>
          </a:xfrm>
        </p:spPr>
        <p:txBody>
          <a:bodyPr/>
          <a:lstStyle/>
          <a:p>
            <a:r>
              <a:rPr lang="uk-UA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 сьогоднішній день, це наймасштабніше опитування у сфері управління персоналом</a:t>
            </a:r>
            <a:endParaRPr lang="uk-UA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487437" y="266682"/>
            <a:ext cx="11252200" cy="334102"/>
          </a:xfrm>
        </p:spPr>
        <p:txBody>
          <a:bodyPr/>
          <a:lstStyle/>
          <a:p>
            <a:r>
              <a:rPr lang="uk-UA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 дослідження 2018 року</a:t>
            </a:r>
            <a:endParaRPr lang="en-US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738261" y="1608682"/>
            <a:ext cx="6444672" cy="126403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1200"/>
              </a:spcAft>
            </a:pPr>
            <a:r>
              <a:rPr lang="uk-UA" sz="28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лобально</a:t>
            </a:r>
            <a:r>
              <a:rPr lang="uk-UA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</a:t>
            </a:r>
            <a:r>
              <a:rPr lang="en-US" sz="4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uk-UA" sz="4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en-US" sz="4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000+ </a:t>
            </a:r>
            <a:endParaRPr lang="uk-UA" sz="44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1200"/>
              </a:spcAft>
            </a:pPr>
            <a:r>
              <a:rPr lang="ru-RU" sz="18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ерівників</a:t>
            </a:r>
            <a:r>
              <a:rPr lang="ru-RU" sz="1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8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паній</a:t>
            </a:r>
            <a:r>
              <a:rPr lang="ru-RU" sz="1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та </a:t>
            </a:r>
            <a:r>
              <a:rPr lang="en-US" sz="1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R</a:t>
            </a:r>
            <a:r>
              <a:rPr lang="uk-UA" sz="1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</a:t>
            </a:r>
            <a:r>
              <a:rPr lang="uk-UA" sz="1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</a:t>
            </a:r>
            <a:r>
              <a:rPr lang="uk-UA" sz="1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спертів</a:t>
            </a:r>
            <a:endParaRPr lang="en-US" sz="1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623915" y="3392877"/>
            <a:ext cx="1716927" cy="5232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1700"/>
              </a:lnSpc>
            </a:pPr>
            <a:r>
              <a:rPr lang="en-US" sz="4400" b="1" dirty="0" smtClean="0"/>
              <a:t>140 </a:t>
            </a:r>
            <a:r>
              <a:rPr lang="ru-RU" sz="1800" dirty="0" err="1" smtClean="0"/>
              <a:t>країн</a:t>
            </a:r>
            <a:endParaRPr lang="en-US" sz="1800" dirty="0"/>
          </a:p>
        </p:txBody>
      </p:sp>
      <p:sp>
        <p:nvSpPr>
          <p:cNvPr id="3" name="TextBox 2"/>
          <p:cNvSpPr txBox="1"/>
          <p:nvPr/>
        </p:nvSpPr>
        <p:spPr>
          <a:xfrm>
            <a:off x="1738261" y="4277598"/>
            <a:ext cx="54562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b="1" dirty="0" err="1" smtClean="0"/>
              <a:t>Україна</a:t>
            </a:r>
            <a:r>
              <a:rPr lang="ru-RU" b="1" dirty="0" smtClean="0"/>
              <a:t>: 160 </a:t>
            </a:r>
            <a:r>
              <a:rPr lang="ru-RU" b="1" dirty="0" err="1" smtClean="0"/>
              <a:t>респондентів</a:t>
            </a:r>
            <a:endParaRPr lang="ru-RU" b="1" dirty="0" smtClean="0"/>
          </a:p>
        </p:txBody>
      </p:sp>
      <p:sp>
        <p:nvSpPr>
          <p:cNvPr id="9" name="Rectangle 8"/>
          <p:cNvSpPr/>
          <p:nvPr/>
        </p:nvSpPr>
        <p:spPr>
          <a:xfrm>
            <a:off x="469900" y="5286138"/>
            <a:ext cx="1066513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#</a:t>
            </a:r>
            <a:r>
              <a:rPr lang="uk-UA" sz="3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ра </a:t>
            </a:r>
            <a:r>
              <a:rPr lang="uk-UA" sz="3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ціальної місії та відповідальності компанії</a:t>
            </a:r>
            <a:endParaRPr lang="en-US" sz="3600" dirty="0">
              <a:solidFill>
                <a:schemeClr val="accent2"/>
              </a:solidFill>
            </a:endParaRPr>
          </a:p>
        </p:txBody>
      </p:sp>
      <p:grpSp>
        <p:nvGrpSpPr>
          <p:cNvPr id="17" name="Group 53"/>
          <p:cNvGrpSpPr>
            <a:grpSpLocks noChangeAspect="1"/>
          </p:cNvGrpSpPr>
          <p:nvPr/>
        </p:nvGrpSpPr>
        <p:grpSpPr bwMode="auto">
          <a:xfrm>
            <a:off x="546450" y="3058729"/>
            <a:ext cx="768205" cy="770465"/>
            <a:chOff x="5183" y="1046"/>
            <a:chExt cx="340" cy="341"/>
          </a:xfrm>
          <a:solidFill>
            <a:schemeClr val="accent1"/>
          </a:solidFill>
        </p:grpSpPr>
        <p:sp>
          <p:nvSpPr>
            <p:cNvPr id="18" name="Freeform 54"/>
            <p:cNvSpPr>
              <a:spLocks noEditPoints="1"/>
            </p:cNvSpPr>
            <p:nvPr/>
          </p:nvSpPr>
          <p:spPr bwMode="auto">
            <a:xfrm>
              <a:off x="5247" y="1110"/>
              <a:ext cx="212" cy="213"/>
            </a:xfrm>
            <a:custGeom>
              <a:avLst/>
              <a:gdLst>
                <a:gd name="T0" fmla="*/ 160 w 320"/>
                <a:gd name="T1" fmla="*/ 0 h 320"/>
                <a:gd name="T2" fmla="*/ 0 w 320"/>
                <a:gd name="T3" fmla="*/ 160 h 320"/>
                <a:gd name="T4" fmla="*/ 160 w 320"/>
                <a:gd name="T5" fmla="*/ 320 h 320"/>
                <a:gd name="T6" fmla="*/ 320 w 320"/>
                <a:gd name="T7" fmla="*/ 160 h 320"/>
                <a:gd name="T8" fmla="*/ 160 w 320"/>
                <a:gd name="T9" fmla="*/ 0 h 320"/>
                <a:gd name="T10" fmla="*/ 283 w 320"/>
                <a:gd name="T11" fmla="*/ 224 h 320"/>
                <a:gd name="T12" fmla="*/ 218 w 320"/>
                <a:gd name="T13" fmla="*/ 224 h 320"/>
                <a:gd name="T14" fmla="*/ 223 w 320"/>
                <a:gd name="T15" fmla="*/ 170 h 320"/>
                <a:gd name="T16" fmla="*/ 298 w 320"/>
                <a:gd name="T17" fmla="*/ 170 h 320"/>
                <a:gd name="T18" fmla="*/ 283 w 320"/>
                <a:gd name="T19" fmla="*/ 224 h 320"/>
                <a:gd name="T20" fmla="*/ 160 w 320"/>
                <a:gd name="T21" fmla="*/ 298 h 320"/>
                <a:gd name="T22" fmla="*/ 127 w 320"/>
                <a:gd name="T23" fmla="*/ 245 h 320"/>
                <a:gd name="T24" fmla="*/ 192 w 320"/>
                <a:gd name="T25" fmla="*/ 245 h 320"/>
                <a:gd name="T26" fmla="*/ 160 w 320"/>
                <a:gd name="T27" fmla="*/ 298 h 320"/>
                <a:gd name="T28" fmla="*/ 122 w 320"/>
                <a:gd name="T29" fmla="*/ 224 h 320"/>
                <a:gd name="T30" fmla="*/ 117 w 320"/>
                <a:gd name="T31" fmla="*/ 170 h 320"/>
                <a:gd name="T32" fmla="*/ 202 w 320"/>
                <a:gd name="T33" fmla="*/ 170 h 320"/>
                <a:gd name="T34" fmla="*/ 197 w 320"/>
                <a:gd name="T35" fmla="*/ 224 h 320"/>
                <a:gd name="T36" fmla="*/ 122 w 320"/>
                <a:gd name="T37" fmla="*/ 224 h 320"/>
                <a:gd name="T38" fmla="*/ 22 w 320"/>
                <a:gd name="T39" fmla="*/ 170 h 320"/>
                <a:gd name="T40" fmla="*/ 96 w 320"/>
                <a:gd name="T41" fmla="*/ 170 h 320"/>
                <a:gd name="T42" fmla="*/ 101 w 320"/>
                <a:gd name="T43" fmla="*/ 224 h 320"/>
                <a:gd name="T44" fmla="*/ 37 w 320"/>
                <a:gd name="T45" fmla="*/ 224 h 320"/>
                <a:gd name="T46" fmla="*/ 22 w 320"/>
                <a:gd name="T47" fmla="*/ 170 h 320"/>
                <a:gd name="T48" fmla="*/ 37 w 320"/>
                <a:gd name="T49" fmla="*/ 96 h 320"/>
                <a:gd name="T50" fmla="*/ 101 w 320"/>
                <a:gd name="T51" fmla="*/ 96 h 320"/>
                <a:gd name="T52" fmla="*/ 96 w 320"/>
                <a:gd name="T53" fmla="*/ 149 h 320"/>
                <a:gd name="T54" fmla="*/ 22 w 320"/>
                <a:gd name="T55" fmla="*/ 149 h 320"/>
                <a:gd name="T56" fmla="*/ 37 w 320"/>
                <a:gd name="T57" fmla="*/ 96 h 320"/>
                <a:gd name="T58" fmla="*/ 160 w 320"/>
                <a:gd name="T59" fmla="*/ 21 h 320"/>
                <a:gd name="T60" fmla="*/ 192 w 320"/>
                <a:gd name="T61" fmla="*/ 74 h 320"/>
                <a:gd name="T62" fmla="*/ 127 w 320"/>
                <a:gd name="T63" fmla="*/ 74 h 320"/>
                <a:gd name="T64" fmla="*/ 160 w 320"/>
                <a:gd name="T65" fmla="*/ 21 h 320"/>
                <a:gd name="T66" fmla="*/ 197 w 320"/>
                <a:gd name="T67" fmla="*/ 96 h 320"/>
                <a:gd name="T68" fmla="*/ 202 w 320"/>
                <a:gd name="T69" fmla="*/ 149 h 320"/>
                <a:gd name="T70" fmla="*/ 117 w 320"/>
                <a:gd name="T71" fmla="*/ 149 h 320"/>
                <a:gd name="T72" fmla="*/ 122 w 320"/>
                <a:gd name="T73" fmla="*/ 96 h 320"/>
                <a:gd name="T74" fmla="*/ 197 w 320"/>
                <a:gd name="T75" fmla="*/ 96 h 320"/>
                <a:gd name="T76" fmla="*/ 223 w 320"/>
                <a:gd name="T77" fmla="*/ 149 h 320"/>
                <a:gd name="T78" fmla="*/ 218 w 320"/>
                <a:gd name="T79" fmla="*/ 96 h 320"/>
                <a:gd name="T80" fmla="*/ 283 w 320"/>
                <a:gd name="T81" fmla="*/ 96 h 320"/>
                <a:gd name="T82" fmla="*/ 298 w 320"/>
                <a:gd name="T83" fmla="*/ 149 h 320"/>
                <a:gd name="T84" fmla="*/ 223 w 320"/>
                <a:gd name="T85" fmla="*/ 149 h 320"/>
                <a:gd name="T86" fmla="*/ 269 w 320"/>
                <a:gd name="T87" fmla="*/ 74 h 320"/>
                <a:gd name="T88" fmla="*/ 214 w 320"/>
                <a:gd name="T89" fmla="*/ 74 h 320"/>
                <a:gd name="T90" fmla="*/ 196 w 320"/>
                <a:gd name="T91" fmla="*/ 26 h 320"/>
                <a:gd name="T92" fmla="*/ 269 w 320"/>
                <a:gd name="T93" fmla="*/ 74 h 320"/>
                <a:gd name="T94" fmla="*/ 124 w 320"/>
                <a:gd name="T95" fmla="*/ 26 h 320"/>
                <a:gd name="T96" fmla="*/ 105 w 320"/>
                <a:gd name="T97" fmla="*/ 74 h 320"/>
                <a:gd name="T98" fmla="*/ 51 w 320"/>
                <a:gd name="T99" fmla="*/ 74 h 320"/>
                <a:gd name="T100" fmla="*/ 124 w 320"/>
                <a:gd name="T101" fmla="*/ 26 h 320"/>
                <a:gd name="T102" fmla="*/ 51 w 320"/>
                <a:gd name="T103" fmla="*/ 245 h 320"/>
                <a:gd name="T104" fmla="*/ 105 w 320"/>
                <a:gd name="T105" fmla="*/ 245 h 320"/>
                <a:gd name="T106" fmla="*/ 124 w 320"/>
                <a:gd name="T107" fmla="*/ 293 h 320"/>
                <a:gd name="T108" fmla="*/ 51 w 320"/>
                <a:gd name="T109" fmla="*/ 245 h 320"/>
                <a:gd name="T110" fmla="*/ 196 w 320"/>
                <a:gd name="T111" fmla="*/ 293 h 320"/>
                <a:gd name="T112" fmla="*/ 214 w 320"/>
                <a:gd name="T113" fmla="*/ 245 h 320"/>
                <a:gd name="T114" fmla="*/ 269 w 320"/>
                <a:gd name="T115" fmla="*/ 245 h 320"/>
                <a:gd name="T116" fmla="*/ 196 w 320"/>
                <a:gd name="T117" fmla="*/ 29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320">
                  <a:moveTo>
                    <a:pt x="160" y="0"/>
                  </a:moveTo>
                  <a:cubicBezTo>
                    <a:pt x="71" y="0"/>
                    <a:pt x="0" y="71"/>
                    <a:pt x="0" y="160"/>
                  </a:cubicBezTo>
                  <a:cubicBezTo>
                    <a:pt x="0" y="248"/>
                    <a:pt x="71" y="320"/>
                    <a:pt x="160" y="320"/>
                  </a:cubicBezTo>
                  <a:cubicBezTo>
                    <a:pt x="248" y="320"/>
                    <a:pt x="320" y="248"/>
                    <a:pt x="320" y="160"/>
                  </a:cubicBezTo>
                  <a:cubicBezTo>
                    <a:pt x="320" y="71"/>
                    <a:pt x="248" y="0"/>
                    <a:pt x="160" y="0"/>
                  </a:cubicBezTo>
                  <a:close/>
                  <a:moveTo>
                    <a:pt x="283" y="224"/>
                  </a:moveTo>
                  <a:cubicBezTo>
                    <a:pt x="218" y="224"/>
                    <a:pt x="218" y="224"/>
                    <a:pt x="218" y="224"/>
                  </a:cubicBezTo>
                  <a:cubicBezTo>
                    <a:pt x="221" y="207"/>
                    <a:pt x="223" y="188"/>
                    <a:pt x="223" y="170"/>
                  </a:cubicBezTo>
                  <a:cubicBezTo>
                    <a:pt x="298" y="170"/>
                    <a:pt x="298" y="170"/>
                    <a:pt x="298" y="170"/>
                  </a:cubicBezTo>
                  <a:cubicBezTo>
                    <a:pt x="296" y="189"/>
                    <a:pt x="291" y="207"/>
                    <a:pt x="283" y="224"/>
                  </a:cubicBezTo>
                  <a:close/>
                  <a:moveTo>
                    <a:pt x="160" y="298"/>
                  </a:moveTo>
                  <a:cubicBezTo>
                    <a:pt x="149" y="298"/>
                    <a:pt x="136" y="279"/>
                    <a:pt x="127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83" y="279"/>
                    <a:pt x="170" y="298"/>
                    <a:pt x="160" y="298"/>
                  </a:cubicBezTo>
                  <a:close/>
                  <a:moveTo>
                    <a:pt x="122" y="224"/>
                  </a:moveTo>
                  <a:cubicBezTo>
                    <a:pt x="120" y="208"/>
                    <a:pt x="118" y="190"/>
                    <a:pt x="117" y="170"/>
                  </a:cubicBezTo>
                  <a:cubicBezTo>
                    <a:pt x="202" y="170"/>
                    <a:pt x="202" y="170"/>
                    <a:pt x="202" y="170"/>
                  </a:cubicBezTo>
                  <a:cubicBezTo>
                    <a:pt x="202" y="190"/>
                    <a:pt x="200" y="208"/>
                    <a:pt x="197" y="224"/>
                  </a:cubicBezTo>
                  <a:lnTo>
                    <a:pt x="122" y="224"/>
                  </a:lnTo>
                  <a:close/>
                  <a:moveTo>
                    <a:pt x="22" y="170"/>
                  </a:moveTo>
                  <a:cubicBezTo>
                    <a:pt x="96" y="170"/>
                    <a:pt x="96" y="170"/>
                    <a:pt x="96" y="170"/>
                  </a:cubicBezTo>
                  <a:cubicBezTo>
                    <a:pt x="96" y="188"/>
                    <a:pt x="98" y="207"/>
                    <a:pt x="101" y="224"/>
                  </a:cubicBezTo>
                  <a:cubicBezTo>
                    <a:pt x="37" y="224"/>
                    <a:pt x="37" y="224"/>
                    <a:pt x="37" y="224"/>
                  </a:cubicBezTo>
                  <a:cubicBezTo>
                    <a:pt x="28" y="207"/>
                    <a:pt x="23" y="189"/>
                    <a:pt x="22" y="170"/>
                  </a:cubicBezTo>
                  <a:close/>
                  <a:moveTo>
                    <a:pt x="37" y="96"/>
                  </a:moveTo>
                  <a:cubicBezTo>
                    <a:pt x="101" y="96"/>
                    <a:pt x="101" y="96"/>
                    <a:pt x="101" y="96"/>
                  </a:cubicBezTo>
                  <a:cubicBezTo>
                    <a:pt x="98" y="113"/>
                    <a:pt x="96" y="131"/>
                    <a:pt x="96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30"/>
                    <a:pt x="28" y="112"/>
                    <a:pt x="37" y="96"/>
                  </a:cubicBezTo>
                  <a:close/>
                  <a:moveTo>
                    <a:pt x="160" y="21"/>
                  </a:moveTo>
                  <a:cubicBezTo>
                    <a:pt x="170" y="21"/>
                    <a:pt x="183" y="41"/>
                    <a:pt x="192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36" y="41"/>
                    <a:pt x="149" y="21"/>
                    <a:pt x="160" y="21"/>
                  </a:cubicBezTo>
                  <a:close/>
                  <a:moveTo>
                    <a:pt x="197" y="96"/>
                  </a:moveTo>
                  <a:cubicBezTo>
                    <a:pt x="200" y="111"/>
                    <a:pt x="202" y="129"/>
                    <a:pt x="202" y="149"/>
                  </a:cubicBezTo>
                  <a:cubicBezTo>
                    <a:pt x="117" y="149"/>
                    <a:pt x="117" y="149"/>
                    <a:pt x="117" y="149"/>
                  </a:cubicBezTo>
                  <a:cubicBezTo>
                    <a:pt x="118" y="129"/>
                    <a:pt x="120" y="111"/>
                    <a:pt x="122" y="96"/>
                  </a:cubicBezTo>
                  <a:lnTo>
                    <a:pt x="197" y="96"/>
                  </a:lnTo>
                  <a:close/>
                  <a:moveTo>
                    <a:pt x="223" y="149"/>
                  </a:moveTo>
                  <a:cubicBezTo>
                    <a:pt x="223" y="131"/>
                    <a:pt x="221" y="113"/>
                    <a:pt x="218" y="96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91" y="112"/>
                    <a:pt x="296" y="130"/>
                    <a:pt x="298" y="149"/>
                  </a:cubicBezTo>
                  <a:lnTo>
                    <a:pt x="223" y="149"/>
                  </a:lnTo>
                  <a:close/>
                  <a:moveTo>
                    <a:pt x="269" y="74"/>
                  </a:moveTo>
                  <a:cubicBezTo>
                    <a:pt x="214" y="74"/>
                    <a:pt x="214" y="74"/>
                    <a:pt x="214" y="74"/>
                  </a:cubicBezTo>
                  <a:cubicBezTo>
                    <a:pt x="210" y="55"/>
                    <a:pt x="203" y="39"/>
                    <a:pt x="196" y="26"/>
                  </a:cubicBezTo>
                  <a:cubicBezTo>
                    <a:pt x="225" y="34"/>
                    <a:pt x="251" y="51"/>
                    <a:pt x="269" y="74"/>
                  </a:cubicBezTo>
                  <a:close/>
                  <a:moveTo>
                    <a:pt x="124" y="26"/>
                  </a:moveTo>
                  <a:cubicBezTo>
                    <a:pt x="116" y="39"/>
                    <a:pt x="110" y="55"/>
                    <a:pt x="105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69" y="51"/>
                    <a:pt x="94" y="34"/>
                    <a:pt x="124" y="26"/>
                  </a:cubicBezTo>
                  <a:close/>
                  <a:moveTo>
                    <a:pt x="51" y="245"/>
                  </a:moveTo>
                  <a:cubicBezTo>
                    <a:pt x="105" y="245"/>
                    <a:pt x="105" y="245"/>
                    <a:pt x="105" y="245"/>
                  </a:cubicBezTo>
                  <a:cubicBezTo>
                    <a:pt x="110" y="264"/>
                    <a:pt x="116" y="281"/>
                    <a:pt x="124" y="293"/>
                  </a:cubicBezTo>
                  <a:cubicBezTo>
                    <a:pt x="94" y="285"/>
                    <a:pt x="69" y="268"/>
                    <a:pt x="51" y="245"/>
                  </a:cubicBezTo>
                  <a:close/>
                  <a:moveTo>
                    <a:pt x="196" y="293"/>
                  </a:moveTo>
                  <a:cubicBezTo>
                    <a:pt x="203" y="281"/>
                    <a:pt x="210" y="264"/>
                    <a:pt x="214" y="245"/>
                  </a:cubicBezTo>
                  <a:cubicBezTo>
                    <a:pt x="269" y="245"/>
                    <a:pt x="269" y="245"/>
                    <a:pt x="269" y="245"/>
                  </a:cubicBezTo>
                  <a:cubicBezTo>
                    <a:pt x="251" y="268"/>
                    <a:pt x="225" y="285"/>
                    <a:pt x="196" y="2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55"/>
            <p:cNvSpPr>
              <a:spLocks noEditPoints="1"/>
            </p:cNvSpPr>
            <p:nvPr/>
          </p:nvSpPr>
          <p:spPr bwMode="auto">
            <a:xfrm>
              <a:off x="5183" y="1046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0" name="Group 35"/>
          <p:cNvGrpSpPr>
            <a:grpSpLocks noChangeAspect="1"/>
          </p:cNvGrpSpPr>
          <p:nvPr/>
        </p:nvGrpSpPr>
        <p:grpSpPr bwMode="auto">
          <a:xfrm>
            <a:off x="557862" y="3991382"/>
            <a:ext cx="756793" cy="756793"/>
            <a:chOff x="2709" y="6"/>
            <a:chExt cx="340" cy="340"/>
          </a:xfrm>
          <a:solidFill>
            <a:schemeClr val="accent1"/>
          </a:solidFill>
        </p:grpSpPr>
        <p:sp>
          <p:nvSpPr>
            <p:cNvPr id="21" name="Freeform 36"/>
            <p:cNvSpPr>
              <a:spLocks noEditPoints="1"/>
            </p:cNvSpPr>
            <p:nvPr/>
          </p:nvSpPr>
          <p:spPr bwMode="auto">
            <a:xfrm>
              <a:off x="2779" y="84"/>
              <a:ext cx="71" cy="92"/>
            </a:xfrm>
            <a:custGeom>
              <a:avLst/>
              <a:gdLst>
                <a:gd name="T0" fmla="*/ 54 w 107"/>
                <a:gd name="T1" fmla="*/ 139 h 139"/>
                <a:gd name="T2" fmla="*/ 61 w 107"/>
                <a:gd name="T3" fmla="*/ 136 h 139"/>
                <a:gd name="T4" fmla="*/ 107 w 107"/>
                <a:gd name="T5" fmla="*/ 53 h 139"/>
                <a:gd name="T6" fmla="*/ 54 w 107"/>
                <a:gd name="T7" fmla="*/ 0 h 139"/>
                <a:gd name="T8" fmla="*/ 0 w 107"/>
                <a:gd name="T9" fmla="*/ 53 h 139"/>
                <a:gd name="T10" fmla="*/ 46 w 107"/>
                <a:gd name="T11" fmla="*/ 136 h 139"/>
                <a:gd name="T12" fmla="*/ 54 w 107"/>
                <a:gd name="T13" fmla="*/ 139 h 139"/>
                <a:gd name="T14" fmla="*/ 54 w 107"/>
                <a:gd name="T15" fmla="*/ 21 h 139"/>
                <a:gd name="T16" fmla="*/ 86 w 107"/>
                <a:gd name="T17" fmla="*/ 53 h 139"/>
                <a:gd name="T18" fmla="*/ 54 w 107"/>
                <a:gd name="T19" fmla="*/ 113 h 139"/>
                <a:gd name="T20" fmla="*/ 22 w 107"/>
                <a:gd name="T21" fmla="*/ 53 h 139"/>
                <a:gd name="T22" fmla="*/ 54 w 107"/>
                <a:gd name="T23" fmla="*/ 21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139">
                  <a:moveTo>
                    <a:pt x="54" y="139"/>
                  </a:moveTo>
                  <a:cubicBezTo>
                    <a:pt x="56" y="139"/>
                    <a:pt x="59" y="138"/>
                    <a:pt x="61" y="136"/>
                  </a:cubicBezTo>
                  <a:cubicBezTo>
                    <a:pt x="107" y="90"/>
                    <a:pt x="107" y="55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ubicBezTo>
                    <a:pt x="24" y="0"/>
                    <a:pt x="0" y="24"/>
                    <a:pt x="0" y="53"/>
                  </a:cubicBezTo>
                  <a:cubicBezTo>
                    <a:pt x="0" y="55"/>
                    <a:pt x="0" y="90"/>
                    <a:pt x="46" y="136"/>
                  </a:cubicBezTo>
                  <a:cubicBezTo>
                    <a:pt x="48" y="138"/>
                    <a:pt x="51" y="139"/>
                    <a:pt x="54" y="139"/>
                  </a:cubicBezTo>
                  <a:close/>
                  <a:moveTo>
                    <a:pt x="54" y="21"/>
                  </a:moveTo>
                  <a:cubicBezTo>
                    <a:pt x="71" y="21"/>
                    <a:pt x="86" y="36"/>
                    <a:pt x="86" y="53"/>
                  </a:cubicBezTo>
                  <a:cubicBezTo>
                    <a:pt x="86" y="54"/>
                    <a:pt x="85" y="78"/>
                    <a:pt x="54" y="113"/>
                  </a:cubicBezTo>
                  <a:cubicBezTo>
                    <a:pt x="23" y="78"/>
                    <a:pt x="22" y="54"/>
                    <a:pt x="22" y="53"/>
                  </a:cubicBezTo>
                  <a:cubicBezTo>
                    <a:pt x="22" y="36"/>
                    <a:pt x="36" y="21"/>
                    <a:pt x="5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Oval 37"/>
            <p:cNvSpPr>
              <a:spLocks noChangeArrowheads="1"/>
            </p:cNvSpPr>
            <p:nvPr/>
          </p:nvSpPr>
          <p:spPr bwMode="auto">
            <a:xfrm>
              <a:off x="2808" y="112"/>
              <a:ext cx="14" cy="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8"/>
            <p:cNvSpPr>
              <a:spLocks noEditPoints="1"/>
            </p:cNvSpPr>
            <p:nvPr/>
          </p:nvSpPr>
          <p:spPr bwMode="auto">
            <a:xfrm>
              <a:off x="2808" y="105"/>
              <a:ext cx="170" cy="170"/>
            </a:xfrm>
            <a:custGeom>
              <a:avLst/>
              <a:gdLst>
                <a:gd name="T0" fmla="*/ 128 w 256"/>
                <a:gd name="T1" fmla="*/ 0 h 256"/>
                <a:gd name="T2" fmla="*/ 93 w 256"/>
                <a:gd name="T3" fmla="*/ 5 h 256"/>
                <a:gd name="T4" fmla="*/ 86 w 256"/>
                <a:gd name="T5" fmla="*/ 18 h 256"/>
                <a:gd name="T6" fmla="*/ 94 w 256"/>
                <a:gd name="T7" fmla="*/ 25 h 256"/>
                <a:gd name="T8" fmla="*/ 78 w 256"/>
                <a:gd name="T9" fmla="*/ 75 h 256"/>
                <a:gd name="T10" fmla="*/ 75 w 256"/>
                <a:gd name="T11" fmla="*/ 75 h 256"/>
                <a:gd name="T12" fmla="*/ 64 w 256"/>
                <a:gd name="T13" fmla="*/ 85 h 256"/>
                <a:gd name="T14" fmla="*/ 75 w 256"/>
                <a:gd name="T15" fmla="*/ 96 h 256"/>
                <a:gd name="T16" fmla="*/ 75 w 256"/>
                <a:gd name="T17" fmla="*/ 96 h 256"/>
                <a:gd name="T18" fmla="*/ 73 w 256"/>
                <a:gd name="T19" fmla="*/ 128 h 256"/>
                <a:gd name="T20" fmla="*/ 75 w 256"/>
                <a:gd name="T21" fmla="*/ 160 h 256"/>
                <a:gd name="T22" fmla="*/ 26 w 256"/>
                <a:gd name="T23" fmla="*/ 160 h 256"/>
                <a:gd name="T24" fmla="*/ 22 w 256"/>
                <a:gd name="T25" fmla="*/ 138 h 256"/>
                <a:gd name="T26" fmla="*/ 10 w 256"/>
                <a:gd name="T27" fmla="*/ 128 h 256"/>
                <a:gd name="T28" fmla="*/ 1 w 256"/>
                <a:gd name="T29" fmla="*/ 140 h 256"/>
                <a:gd name="T30" fmla="*/ 128 w 256"/>
                <a:gd name="T31" fmla="*/ 256 h 256"/>
                <a:gd name="T32" fmla="*/ 256 w 256"/>
                <a:gd name="T33" fmla="*/ 128 h 256"/>
                <a:gd name="T34" fmla="*/ 128 w 256"/>
                <a:gd name="T35" fmla="*/ 0 h 256"/>
                <a:gd name="T36" fmla="*/ 36 w 256"/>
                <a:gd name="T37" fmla="*/ 181 h 256"/>
                <a:gd name="T38" fmla="*/ 78 w 256"/>
                <a:gd name="T39" fmla="*/ 181 h 256"/>
                <a:gd name="T40" fmla="*/ 93 w 256"/>
                <a:gd name="T41" fmla="*/ 229 h 256"/>
                <a:gd name="T42" fmla="*/ 36 w 256"/>
                <a:gd name="T43" fmla="*/ 181 h 256"/>
                <a:gd name="T44" fmla="*/ 220 w 256"/>
                <a:gd name="T45" fmla="*/ 75 h 256"/>
                <a:gd name="T46" fmla="*/ 178 w 256"/>
                <a:gd name="T47" fmla="*/ 75 h 256"/>
                <a:gd name="T48" fmla="*/ 163 w 256"/>
                <a:gd name="T49" fmla="*/ 27 h 256"/>
                <a:gd name="T50" fmla="*/ 220 w 256"/>
                <a:gd name="T51" fmla="*/ 75 h 256"/>
                <a:gd name="T52" fmla="*/ 128 w 256"/>
                <a:gd name="T53" fmla="*/ 21 h 256"/>
                <a:gd name="T54" fmla="*/ 156 w 256"/>
                <a:gd name="T55" fmla="*/ 75 h 256"/>
                <a:gd name="T56" fmla="*/ 100 w 256"/>
                <a:gd name="T57" fmla="*/ 75 h 256"/>
                <a:gd name="T58" fmla="*/ 128 w 256"/>
                <a:gd name="T59" fmla="*/ 21 h 256"/>
                <a:gd name="T60" fmla="*/ 128 w 256"/>
                <a:gd name="T61" fmla="*/ 235 h 256"/>
                <a:gd name="T62" fmla="*/ 100 w 256"/>
                <a:gd name="T63" fmla="*/ 181 h 256"/>
                <a:gd name="T64" fmla="*/ 156 w 256"/>
                <a:gd name="T65" fmla="*/ 181 h 256"/>
                <a:gd name="T66" fmla="*/ 128 w 256"/>
                <a:gd name="T67" fmla="*/ 235 h 256"/>
                <a:gd name="T68" fmla="*/ 160 w 256"/>
                <a:gd name="T69" fmla="*/ 160 h 256"/>
                <a:gd name="T70" fmla="*/ 96 w 256"/>
                <a:gd name="T71" fmla="*/ 160 h 256"/>
                <a:gd name="T72" fmla="*/ 95 w 256"/>
                <a:gd name="T73" fmla="*/ 128 h 256"/>
                <a:gd name="T74" fmla="*/ 96 w 256"/>
                <a:gd name="T75" fmla="*/ 96 h 256"/>
                <a:gd name="T76" fmla="*/ 160 w 256"/>
                <a:gd name="T77" fmla="*/ 96 h 256"/>
                <a:gd name="T78" fmla="*/ 161 w 256"/>
                <a:gd name="T79" fmla="*/ 128 h 256"/>
                <a:gd name="T80" fmla="*/ 160 w 256"/>
                <a:gd name="T81" fmla="*/ 160 h 256"/>
                <a:gd name="T82" fmla="*/ 163 w 256"/>
                <a:gd name="T83" fmla="*/ 229 h 256"/>
                <a:gd name="T84" fmla="*/ 178 w 256"/>
                <a:gd name="T85" fmla="*/ 181 h 256"/>
                <a:gd name="T86" fmla="*/ 220 w 256"/>
                <a:gd name="T87" fmla="*/ 181 h 256"/>
                <a:gd name="T88" fmla="*/ 163 w 256"/>
                <a:gd name="T89" fmla="*/ 229 h 256"/>
                <a:gd name="T90" fmla="*/ 181 w 256"/>
                <a:gd name="T91" fmla="*/ 160 h 256"/>
                <a:gd name="T92" fmla="*/ 183 w 256"/>
                <a:gd name="T93" fmla="*/ 128 h 256"/>
                <a:gd name="T94" fmla="*/ 181 w 256"/>
                <a:gd name="T95" fmla="*/ 96 h 256"/>
                <a:gd name="T96" fmla="*/ 230 w 256"/>
                <a:gd name="T97" fmla="*/ 96 h 256"/>
                <a:gd name="T98" fmla="*/ 235 w 256"/>
                <a:gd name="T99" fmla="*/ 128 h 256"/>
                <a:gd name="T100" fmla="*/ 230 w 256"/>
                <a:gd name="T101" fmla="*/ 160 h 256"/>
                <a:gd name="T102" fmla="*/ 181 w 256"/>
                <a:gd name="T103" fmla="*/ 16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6" h="256">
                  <a:moveTo>
                    <a:pt x="128" y="0"/>
                  </a:moveTo>
                  <a:cubicBezTo>
                    <a:pt x="116" y="0"/>
                    <a:pt x="104" y="2"/>
                    <a:pt x="93" y="5"/>
                  </a:cubicBezTo>
                  <a:cubicBezTo>
                    <a:pt x="87" y="6"/>
                    <a:pt x="84" y="12"/>
                    <a:pt x="86" y="18"/>
                  </a:cubicBezTo>
                  <a:cubicBezTo>
                    <a:pt x="87" y="22"/>
                    <a:pt x="90" y="25"/>
                    <a:pt x="94" y="25"/>
                  </a:cubicBezTo>
                  <a:cubicBezTo>
                    <a:pt x="87" y="39"/>
                    <a:pt x="81" y="56"/>
                    <a:pt x="78" y="75"/>
                  </a:cubicBezTo>
                  <a:cubicBezTo>
                    <a:pt x="75" y="75"/>
                    <a:pt x="75" y="75"/>
                    <a:pt x="75" y="75"/>
                  </a:cubicBezTo>
                  <a:cubicBezTo>
                    <a:pt x="69" y="75"/>
                    <a:pt x="64" y="79"/>
                    <a:pt x="64" y="85"/>
                  </a:cubicBezTo>
                  <a:cubicBezTo>
                    <a:pt x="64" y="91"/>
                    <a:pt x="69" y="96"/>
                    <a:pt x="75" y="96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74" y="106"/>
                    <a:pt x="73" y="117"/>
                    <a:pt x="73" y="128"/>
                  </a:cubicBezTo>
                  <a:cubicBezTo>
                    <a:pt x="73" y="139"/>
                    <a:pt x="74" y="150"/>
                    <a:pt x="75" y="160"/>
                  </a:cubicBezTo>
                  <a:cubicBezTo>
                    <a:pt x="26" y="160"/>
                    <a:pt x="26" y="160"/>
                    <a:pt x="26" y="160"/>
                  </a:cubicBezTo>
                  <a:cubicBezTo>
                    <a:pt x="24" y="153"/>
                    <a:pt x="22" y="145"/>
                    <a:pt x="22" y="138"/>
                  </a:cubicBezTo>
                  <a:cubicBezTo>
                    <a:pt x="21" y="132"/>
                    <a:pt x="16" y="127"/>
                    <a:pt x="10" y="128"/>
                  </a:cubicBezTo>
                  <a:cubicBezTo>
                    <a:pt x="4" y="129"/>
                    <a:pt x="0" y="134"/>
                    <a:pt x="1" y="140"/>
                  </a:cubicBezTo>
                  <a:cubicBezTo>
                    <a:pt x="6" y="206"/>
                    <a:pt x="61" y="256"/>
                    <a:pt x="128" y="256"/>
                  </a:cubicBezTo>
                  <a:cubicBezTo>
                    <a:pt x="199" y="256"/>
                    <a:pt x="256" y="199"/>
                    <a:pt x="256" y="128"/>
                  </a:cubicBezTo>
                  <a:cubicBezTo>
                    <a:pt x="256" y="57"/>
                    <a:pt x="199" y="0"/>
                    <a:pt x="128" y="0"/>
                  </a:cubicBezTo>
                  <a:close/>
                  <a:moveTo>
                    <a:pt x="36" y="181"/>
                  </a:moveTo>
                  <a:cubicBezTo>
                    <a:pt x="78" y="181"/>
                    <a:pt x="78" y="181"/>
                    <a:pt x="78" y="181"/>
                  </a:cubicBezTo>
                  <a:cubicBezTo>
                    <a:pt x="81" y="200"/>
                    <a:pt x="86" y="216"/>
                    <a:pt x="93" y="229"/>
                  </a:cubicBezTo>
                  <a:cubicBezTo>
                    <a:pt x="69" y="220"/>
                    <a:pt x="48" y="204"/>
                    <a:pt x="36" y="181"/>
                  </a:cubicBezTo>
                  <a:close/>
                  <a:moveTo>
                    <a:pt x="220" y="75"/>
                  </a:moveTo>
                  <a:cubicBezTo>
                    <a:pt x="178" y="75"/>
                    <a:pt x="178" y="75"/>
                    <a:pt x="178" y="75"/>
                  </a:cubicBezTo>
                  <a:cubicBezTo>
                    <a:pt x="175" y="57"/>
                    <a:pt x="170" y="40"/>
                    <a:pt x="163" y="27"/>
                  </a:cubicBezTo>
                  <a:cubicBezTo>
                    <a:pt x="187" y="36"/>
                    <a:pt x="207" y="53"/>
                    <a:pt x="220" y="75"/>
                  </a:cubicBezTo>
                  <a:close/>
                  <a:moveTo>
                    <a:pt x="128" y="21"/>
                  </a:moveTo>
                  <a:cubicBezTo>
                    <a:pt x="137" y="21"/>
                    <a:pt x="150" y="41"/>
                    <a:pt x="156" y="75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6" y="41"/>
                    <a:pt x="119" y="21"/>
                    <a:pt x="128" y="21"/>
                  </a:cubicBezTo>
                  <a:close/>
                  <a:moveTo>
                    <a:pt x="128" y="235"/>
                  </a:moveTo>
                  <a:cubicBezTo>
                    <a:pt x="119" y="235"/>
                    <a:pt x="106" y="215"/>
                    <a:pt x="100" y="181"/>
                  </a:cubicBezTo>
                  <a:cubicBezTo>
                    <a:pt x="156" y="181"/>
                    <a:pt x="156" y="181"/>
                    <a:pt x="156" y="181"/>
                  </a:cubicBezTo>
                  <a:cubicBezTo>
                    <a:pt x="150" y="215"/>
                    <a:pt x="137" y="235"/>
                    <a:pt x="128" y="235"/>
                  </a:cubicBezTo>
                  <a:close/>
                  <a:moveTo>
                    <a:pt x="160" y="160"/>
                  </a:moveTo>
                  <a:cubicBezTo>
                    <a:pt x="96" y="160"/>
                    <a:pt x="96" y="160"/>
                    <a:pt x="96" y="160"/>
                  </a:cubicBezTo>
                  <a:cubicBezTo>
                    <a:pt x="95" y="150"/>
                    <a:pt x="95" y="139"/>
                    <a:pt x="95" y="128"/>
                  </a:cubicBezTo>
                  <a:cubicBezTo>
                    <a:pt x="95" y="117"/>
                    <a:pt x="95" y="106"/>
                    <a:pt x="96" y="96"/>
                  </a:cubicBezTo>
                  <a:cubicBezTo>
                    <a:pt x="160" y="96"/>
                    <a:pt x="160" y="96"/>
                    <a:pt x="160" y="96"/>
                  </a:cubicBezTo>
                  <a:cubicBezTo>
                    <a:pt x="161" y="106"/>
                    <a:pt x="161" y="117"/>
                    <a:pt x="161" y="128"/>
                  </a:cubicBezTo>
                  <a:cubicBezTo>
                    <a:pt x="161" y="139"/>
                    <a:pt x="161" y="150"/>
                    <a:pt x="160" y="160"/>
                  </a:cubicBezTo>
                  <a:close/>
                  <a:moveTo>
                    <a:pt x="163" y="229"/>
                  </a:moveTo>
                  <a:cubicBezTo>
                    <a:pt x="170" y="216"/>
                    <a:pt x="175" y="199"/>
                    <a:pt x="178" y="181"/>
                  </a:cubicBezTo>
                  <a:cubicBezTo>
                    <a:pt x="220" y="181"/>
                    <a:pt x="220" y="181"/>
                    <a:pt x="220" y="181"/>
                  </a:cubicBezTo>
                  <a:cubicBezTo>
                    <a:pt x="207" y="203"/>
                    <a:pt x="187" y="220"/>
                    <a:pt x="163" y="229"/>
                  </a:cubicBezTo>
                  <a:close/>
                  <a:moveTo>
                    <a:pt x="181" y="160"/>
                  </a:moveTo>
                  <a:cubicBezTo>
                    <a:pt x="182" y="150"/>
                    <a:pt x="183" y="139"/>
                    <a:pt x="183" y="128"/>
                  </a:cubicBezTo>
                  <a:cubicBezTo>
                    <a:pt x="183" y="117"/>
                    <a:pt x="182" y="106"/>
                    <a:pt x="181" y="96"/>
                  </a:cubicBezTo>
                  <a:cubicBezTo>
                    <a:pt x="230" y="96"/>
                    <a:pt x="230" y="96"/>
                    <a:pt x="230" y="96"/>
                  </a:cubicBezTo>
                  <a:cubicBezTo>
                    <a:pt x="233" y="106"/>
                    <a:pt x="235" y="117"/>
                    <a:pt x="235" y="128"/>
                  </a:cubicBezTo>
                  <a:cubicBezTo>
                    <a:pt x="235" y="139"/>
                    <a:pt x="233" y="150"/>
                    <a:pt x="230" y="160"/>
                  </a:cubicBezTo>
                  <a:lnTo>
                    <a:pt x="181" y="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39"/>
            <p:cNvSpPr>
              <a:spLocks noEditPoints="1"/>
            </p:cNvSpPr>
            <p:nvPr/>
          </p:nvSpPr>
          <p:spPr bwMode="auto">
            <a:xfrm>
              <a:off x="2709" y="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6" name="Group 749"/>
          <p:cNvGrpSpPr>
            <a:grpSpLocks noChangeAspect="1"/>
          </p:cNvGrpSpPr>
          <p:nvPr/>
        </p:nvGrpSpPr>
        <p:grpSpPr bwMode="auto">
          <a:xfrm>
            <a:off x="409110" y="1740721"/>
            <a:ext cx="1114577" cy="1114577"/>
            <a:chOff x="3520" y="2686"/>
            <a:chExt cx="340" cy="340"/>
          </a:xfrm>
          <a:solidFill>
            <a:schemeClr val="accent2"/>
          </a:solidFill>
        </p:grpSpPr>
        <p:sp>
          <p:nvSpPr>
            <p:cNvPr id="27" name="Freeform 750"/>
            <p:cNvSpPr>
              <a:spLocks noEditPoints="1"/>
            </p:cNvSpPr>
            <p:nvPr/>
          </p:nvSpPr>
          <p:spPr bwMode="auto">
            <a:xfrm>
              <a:off x="3520" y="2686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751"/>
            <p:cNvSpPr>
              <a:spLocks/>
            </p:cNvSpPr>
            <p:nvPr/>
          </p:nvSpPr>
          <p:spPr bwMode="auto">
            <a:xfrm>
              <a:off x="3582" y="2789"/>
              <a:ext cx="144" cy="137"/>
            </a:xfrm>
            <a:custGeom>
              <a:avLst/>
              <a:gdLst>
                <a:gd name="T0" fmla="*/ 209 w 216"/>
                <a:gd name="T1" fmla="*/ 187 h 207"/>
                <a:gd name="T2" fmla="*/ 171 w 216"/>
                <a:gd name="T3" fmla="*/ 179 h 207"/>
                <a:gd name="T4" fmla="*/ 156 w 216"/>
                <a:gd name="T5" fmla="*/ 177 h 207"/>
                <a:gd name="T6" fmla="*/ 145 w 216"/>
                <a:gd name="T7" fmla="*/ 147 h 207"/>
                <a:gd name="T8" fmla="*/ 167 w 216"/>
                <a:gd name="T9" fmla="*/ 96 h 207"/>
                <a:gd name="T10" fmla="*/ 157 w 216"/>
                <a:gd name="T11" fmla="*/ 22 h 207"/>
                <a:gd name="T12" fmla="*/ 108 w 216"/>
                <a:gd name="T13" fmla="*/ 0 h 207"/>
                <a:gd name="T14" fmla="*/ 59 w 216"/>
                <a:gd name="T15" fmla="*/ 22 h 207"/>
                <a:gd name="T16" fmla="*/ 50 w 216"/>
                <a:gd name="T17" fmla="*/ 96 h 207"/>
                <a:gd name="T18" fmla="*/ 72 w 216"/>
                <a:gd name="T19" fmla="*/ 147 h 207"/>
                <a:gd name="T20" fmla="*/ 61 w 216"/>
                <a:gd name="T21" fmla="*/ 177 h 207"/>
                <a:gd name="T22" fmla="*/ 45 w 216"/>
                <a:gd name="T23" fmla="*/ 179 h 207"/>
                <a:gd name="T24" fmla="*/ 8 w 216"/>
                <a:gd name="T25" fmla="*/ 187 h 207"/>
                <a:gd name="T26" fmla="*/ 3 w 216"/>
                <a:gd name="T27" fmla="*/ 201 h 207"/>
                <a:gd name="T28" fmla="*/ 12 w 216"/>
                <a:gd name="T29" fmla="*/ 207 h 207"/>
                <a:gd name="T30" fmla="*/ 17 w 216"/>
                <a:gd name="T31" fmla="*/ 206 h 207"/>
                <a:gd name="T32" fmla="*/ 46 w 216"/>
                <a:gd name="T33" fmla="*/ 200 h 207"/>
                <a:gd name="T34" fmla="*/ 71 w 216"/>
                <a:gd name="T35" fmla="*/ 195 h 207"/>
                <a:gd name="T36" fmla="*/ 91 w 216"/>
                <a:gd name="T37" fmla="*/ 162 h 207"/>
                <a:gd name="T38" fmla="*/ 90 w 216"/>
                <a:gd name="T39" fmla="*/ 135 h 207"/>
                <a:gd name="T40" fmla="*/ 71 w 216"/>
                <a:gd name="T41" fmla="*/ 91 h 207"/>
                <a:gd name="T42" fmla="*/ 76 w 216"/>
                <a:gd name="T43" fmla="*/ 36 h 207"/>
                <a:gd name="T44" fmla="*/ 108 w 216"/>
                <a:gd name="T45" fmla="*/ 22 h 207"/>
                <a:gd name="T46" fmla="*/ 108 w 216"/>
                <a:gd name="T47" fmla="*/ 21 h 207"/>
                <a:gd name="T48" fmla="*/ 109 w 216"/>
                <a:gd name="T49" fmla="*/ 22 h 207"/>
                <a:gd name="T50" fmla="*/ 141 w 216"/>
                <a:gd name="T51" fmla="*/ 36 h 207"/>
                <a:gd name="T52" fmla="*/ 146 w 216"/>
                <a:gd name="T53" fmla="*/ 91 h 207"/>
                <a:gd name="T54" fmla="*/ 127 w 216"/>
                <a:gd name="T55" fmla="*/ 135 h 207"/>
                <a:gd name="T56" fmla="*/ 125 w 216"/>
                <a:gd name="T57" fmla="*/ 162 h 207"/>
                <a:gd name="T58" fmla="*/ 146 w 216"/>
                <a:gd name="T59" fmla="*/ 195 h 207"/>
                <a:gd name="T60" fmla="*/ 170 w 216"/>
                <a:gd name="T61" fmla="*/ 200 h 207"/>
                <a:gd name="T62" fmla="*/ 200 w 216"/>
                <a:gd name="T63" fmla="*/ 206 h 207"/>
                <a:gd name="T64" fmla="*/ 204 w 216"/>
                <a:gd name="T65" fmla="*/ 207 h 207"/>
                <a:gd name="T66" fmla="*/ 214 w 216"/>
                <a:gd name="T67" fmla="*/ 201 h 207"/>
                <a:gd name="T68" fmla="*/ 209 w 216"/>
                <a:gd name="T69" fmla="*/ 18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" h="207">
                  <a:moveTo>
                    <a:pt x="209" y="187"/>
                  </a:moveTo>
                  <a:cubicBezTo>
                    <a:pt x="194" y="180"/>
                    <a:pt x="182" y="180"/>
                    <a:pt x="171" y="179"/>
                  </a:cubicBezTo>
                  <a:cubicBezTo>
                    <a:pt x="165" y="179"/>
                    <a:pt x="159" y="179"/>
                    <a:pt x="156" y="177"/>
                  </a:cubicBezTo>
                  <a:cubicBezTo>
                    <a:pt x="149" y="173"/>
                    <a:pt x="143" y="153"/>
                    <a:pt x="145" y="147"/>
                  </a:cubicBezTo>
                  <a:cubicBezTo>
                    <a:pt x="153" y="134"/>
                    <a:pt x="162" y="114"/>
                    <a:pt x="167" y="96"/>
                  </a:cubicBezTo>
                  <a:cubicBezTo>
                    <a:pt x="174" y="64"/>
                    <a:pt x="171" y="39"/>
                    <a:pt x="157" y="22"/>
                  </a:cubicBezTo>
                  <a:cubicBezTo>
                    <a:pt x="139" y="0"/>
                    <a:pt x="111" y="0"/>
                    <a:pt x="108" y="0"/>
                  </a:cubicBezTo>
                  <a:cubicBezTo>
                    <a:pt x="106" y="0"/>
                    <a:pt x="77" y="0"/>
                    <a:pt x="59" y="22"/>
                  </a:cubicBezTo>
                  <a:cubicBezTo>
                    <a:pt x="45" y="39"/>
                    <a:pt x="42" y="64"/>
                    <a:pt x="50" y="96"/>
                  </a:cubicBezTo>
                  <a:cubicBezTo>
                    <a:pt x="54" y="114"/>
                    <a:pt x="63" y="134"/>
                    <a:pt x="72" y="147"/>
                  </a:cubicBezTo>
                  <a:cubicBezTo>
                    <a:pt x="73" y="153"/>
                    <a:pt x="67" y="173"/>
                    <a:pt x="61" y="177"/>
                  </a:cubicBezTo>
                  <a:cubicBezTo>
                    <a:pt x="57" y="179"/>
                    <a:pt x="52" y="179"/>
                    <a:pt x="45" y="179"/>
                  </a:cubicBezTo>
                  <a:cubicBezTo>
                    <a:pt x="35" y="180"/>
                    <a:pt x="22" y="180"/>
                    <a:pt x="8" y="187"/>
                  </a:cubicBezTo>
                  <a:cubicBezTo>
                    <a:pt x="2" y="189"/>
                    <a:pt x="0" y="196"/>
                    <a:pt x="3" y="201"/>
                  </a:cubicBezTo>
                  <a:cubicBezTo>
                    <a:pt x="4" y="205"/>
                    <a:pt x="8" y="207"/>
                    <a:pt x="12" y="207"/>
                  </a:cubicBezTo>
                  <a:cubicBezTo>
                    <a:pt x="14" y="207"/>
                    <a:pt x="15" y="207"/>
                    <a:pt x="17" y="206"/>
                  </a:cubicBezTo>
                  <a:cubicBezTo>
                    <a:pt x="28" y="201"/>
                    <a:pt x="37" y="201"/>
                    <a:pt x="46" y="200"/>
                  </a:cubicBezTo>
                  <a:cubicBezTo>
                    <a:pt x="55" y="200"/>
                    <a:pt x="63" y="200"/>
                    <a:pt x="71" y="195"/>
                  </a:cubicBezTo>
                  <a:cubicBezTo>
                    <a:pt x="85" y="188"/>
                    <a:pt x="90" y="168"/>
                    <a:pt x="91" y="162"/>
                  </a:cubicBezTo>
                  <a:cubicBezTo>
                    <a:pt x="93" y="153"/>
                    <a:pt x="95" y="142"/>
                    <a:pt x="90" y="135"/>
                  </a:cubicBezTo>
                  <a:cubicBezTo>
                    <a:pt x="82" y="125"/>
                    <a:pt x="74" y="106"/>
                    <a:pt x="71" y="91"/>
                  </a:cubicBezTo>
                  <a:cubicBezTo>
                    <a:pt x="65" y="66"/>
                    <a:pt x="66" y="47"/>
                    <a:pt x="76" y="36"/>
                  </a:cubicBezTo>
                  <a:cubicBezTo>
                    <a:pt x="87" y="21"/>
                    <a:pt x="108" y="22"/>
                    <a:pt x="108" y="22"/>
                  </a:cubicBezTo>
                  <a:cubicBezTo>
                    <a:pt x="108" y="22"/>
                    <a:pt x="108" y="21"/>
                    <a:pt x="108" y="21"/>
                  </a:cubicBezTo>
                  <a:cubicBezTo>
                    <a:pt x="108" y="21"/>
                    <a:pt x="108" y="22"/>
                    <a:pt x="109" y="22"/>
                  </a:cubicBezTo>
                  <a:cubicBezTo>
                    <a:pt x="109" y="22"/>
                    <a:pt x="129" y="21"/>
                    <a:pt x="141" y="36"/>
                  </a:cubicBezTo>
                  <a:cubicBezTo>
                    <a:pt x="150" y="47"/>
                    <a:pt x="152" y="66"/>
                    <a:pt x="146" y="91"/>
                  </a:cubicBezTo>
                  <a:cubicBezTo>
                    <a:pt x="142" y="106"/>
                    <a:pt x="134" y="125"/>
                    <a:pt x="127" y="135"/>
                  </a:cubicBezTo>
                  <a:cubicBezTo>
                    <a:pt x="122" y="142"/>
                    <a:pt x="123" y="153"/>
                    <a:pt x="125" y="162"/>
                  </a:cubicBezTo>
                  <a:cubicBezTo>
                    <a:pt x="126" y="168"/>
                    <a:pt x="132" y="188"/>
                    <a:pt x="146" y="195"/>
                  </a:cubicBezTo>
                  <a:cubicBezTo>
                    <a:pt x="154" y="200"/>
                    <a:pt x="162" y="200"/>
                    <a:pt x="170" y="200"/>
                  </a:cubicBezTo>
                  <a:cubicBezTo>
                    <a:pt x="179" y="201"/>
                    <a:pt x="189" y="201"/>
                    <a:pt x="200" y="206"/>
                  </a:cubicBezTo>
                  <a:cubicBezTo>
                    <a:pt x="201" y="207"/>
                    <a:pt x="203" y="207"/>
                    <a:pt x="204" y="207"/>
                  </a:cubicBezTo>
                  <a:cubicBezTo>
                    <a:pt x="208" y="207"/>
                    <a:pt x="212" y="205"/>
                    <a:pt x="214" y="201"/>
                  </a:cubicBezTo>
                  <a:cubicBezTo>
                    <a:pt x="216" y="196"/>
                    <a:pt x="214" y="189"/>
                    <a:pt x="209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752"/>
            <p:cNvSpPr>
              <a:spLocks/>
            </p:cNvSpPr>
            <p:nvPr/>
          </p:nvSpPr>
          <p:spPr bwMode="auto">
            <a:xfrm>
              <a:off x="3702" y="2802"/>
              <a:ext cx="95" cy="111"/>
            </a:xfrm>
            <a:custGeom>
              <a:avLst/>
              <a:gdLst>
                <a:gd name="T0" fmla="*/ 136 w 143"/>
                <a:gd name="T1" fmla="*/ 147 h 167"/>
                <a:gd name="T2" fmla="*/ 109 w 143"/>
                <a:gd name="T3" fmla="*/ 139 h 167"/>
                <a:gd name="T4" fmla="*/ 95 w 143"/>
                <a:gd name="T5" fmla="*/ 136 h 167"/>
                <a:gd name="T6" fmla="*/ 89 w 143"/>
                <a:gd name="T7" fmla="*/ 118 h 167"/>
                <a:gd name="T8" fmla="*/ 106 w 143"/>
                <a:gd name="T9" fmla="*/ 78 h 167"/>
                <a:gd name="T10" fmla="*/ 99 w 143"/>
                <a:gd name="T11" fmla="*/ 20 h 167"/>
                <a:gd name="T12" fmla="*/ 56 w 143"/>
                <a:gd name="T13" fmla="*/ 1 h 167"/>
                <a:gd name="T14" fmla="*/ 14 w 143"/>
                <a:gd name="T15" fmla="*/ 20 h 167"/>
                <a:gd name="T16" fmla="*/ 6 w 143"/>
                <a:gd name="T17" fmla="*/ 78 h 167"/>
                <a:gd name="T18" fmla="*/ 24 w 143"/>
                <a:gd name="T19" fmla="*/ 118 h 167"/>
                <a:gd name="T20" fmla="*/ 18 w 143"/>
                <a:gd name="T21" fmla="*/ 136 h 167"/>
                <a:gd name="T22" fmla="*/ 16 w 143"/>
                <a:gd name="T23" fmla="*/ 151 h 167"/>
                <a:gd name="T24" fmla="*/ 24 w 143"/>
                <a:gd name="T25" fmla="*/ 155 h 167"/>
                <a:gd name="T26" fmla="*/ 31 w 143"/>
                <a:gd name="T27" fmla="*/ 153 h 167"/>
                <a:gd name="T28" fmla="*/ 41 w 143"/>
                <a:gd name="T29" fmla="*/ 107 h 167"/>
                <a:gd name="T30" fmla="*/ 27 w 143"/>
                <a:gd name="T31" fmla="*/ 73 h 167"/>
                <a:gd name="T32" fmla="*/ 31 w 143"/>
                <a:gd name="T33" fmla="*/ 33 h 167"/>
                <a:gd name="T34" fmla="*/ 56 w 143"/>
                <a:gd name="T35" fmla="*/ 22 h 167"/>
                <a:gd name="T36" fmla="*/ 82 w 143"/>
                <a:gd name="T37" fmla="*/ 33 h 167"/>
                <a:gd name="T38" fmla="*/ 86 w 143"/>
                <a:gd name="T39" fmla="*/ 73 h 167"/>
                <a:gd name="T40" fmla="*/ 71 w 143"/>
                <a:gd name="T41" fmla="*/ 107 h 167"/>
                <a:gd name="T42" fmla="*/ 82 w 143"/>
                <a:gd name="T43" fmla="*/ 153 h 167"/>
                <a:gd name="T44" fmla="*/ 83 w 143"/>
                <a:gd name="T45" fmla="*/ 154 h 167"/>
                <a:gd name="T46" fmla="*/ 106 w 143"/>
                <a:gd name="T47" fmla="*/ 160 h 167"/>
                <a:gd name="T48" fmla="*/ 125 w 143"/>
                <a:gd name="T49" fmla="*/ 165 h 167"/>
                <a:gd name="T50" fmla="*/ 131 w 143"/>
                <a:gd name="T51" fmla="*/ 167 h 167"/>
                <a:gd name="T52" fmla="*/ 140 w 143"/>
                <a:gd name="T53" fmla="*/ 162 h 167"/>
                <a:gd name="T54" fmla="*/ 136 w 143"/>
                <a:gd name="T55" fmla="*/ 14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3" h="167">
                  <a:moveTo>
                    <a:pt x="136" y="147"/>
                  </a:moveTo>
                  <a:cubicBezTo>
                    <a:pt x="128" y="142"/>
                    <a:pt x="118" y="140"/>
                    <a:pt x="109" y="139"/>
                  </a:cubicBezTo>
                  <a:cubicBezTo>
                    <a:pt x="104" y="138"/>
                    <a:pt x="98" y="137"/>
                    <a:pt x="95" y="136"/>
                  </a:cubicBezTo>
                  <a:cubicBezTo>
                    <a:pt x="89" y="131"/>
                    <a:pt x="88" y="121"/>
                    <a:pt x="89" y="118"/>
                  </a:cubicBezTo>
                  <a:cubicBezTo>
                    <a:pt x="96" y="109"/>
                    <a:pt x="103" y="93"/>
                    <a:pt x="106" y="78"/>
                  </a:cubicBezTo>
                  <a:cubicBezTo>
                    <a:pt x="112" y="53"/>
                    <a:pt x="110" y="34"/>
                    <a:pt x="99" y="20"/>
                  </a:cubicBezTo>
                  <a:cubicBezTo>
                    <a:pt x="83" y="0"/>
                    <a:pt x="58" y="1"/>
                    <a:pt x="56" y="1"/>
                  </a:cubicBezTo>
                  <a:cubicBezTo>
                    <a:pt x="54" y="1"/>
                    <a:pt x="30" y="0"/>
                    <a:pt x="14" y="20"/>
                  </a:cubicBezTo>
                  <a:cubicBezTo>
                    <a:pt x="3" y="34"/>
                    <a:pt x="0" y="53"/>
                    <a:pt x="6" y="78"/>
                  </a:cubicBezTo>
                  <a:cubicBezTo>
                    <a:pt x="10" y="93"/>
                    <a:pt x="17" y="109"/>
                    <a:pt x="24" y="118"/>
                  </a:cubicBezTo>
                  <a:cubicBezTo>
                    <a:pt x="25" y="121"/>
                    <a:pt x="24" y="132"/>
                    <a:pt x="18" y="136"/>
                  </a:cubicBezTo>
                  <a:cubicBezTo>
                    <a:pt x="13" y="140"/>
                    <a:pt x="12" y="146"/>
                    <a:pt x="16" y="151"/>
                  </a:cubicBezTo>
                  <a:cubicBezTo>
                    <a:pt x="18" y="154"/>
                    <a:pt x="21" y="155"/>
                    <a:pt x="24" y="155"/>
                  </a:cubicBezTo>
                  <a:cubicBezTo>
                    <a:pt x="26" y="155"/>
                    <a:pt x="29" y="155"/>
                    <a:pt x="31" y="153"/>
                  </a:cubicBezTo>
                  <a:cubicBezTo>
                    <a:pt x="45" y="142"/>
                    <a:pt x="49" y="118"/>
                    <a:pt x="41" y="107"/>
                  </a:cubicBezTo>
                  <a:cubicBezTo>
                    <a:pt x="36" y="99"/>
                    <a:pt x="30" y="85"/>
                    <a:pt x="27" y="73"/>
                  </a:cubicBezTo>
                  <a:cubicBezTo>
                    <a:pt x="23" y="55"/>
                    <a:pt x="24" y="42"/>
                    <a:pt x="31" y="33"/>
                  </a:cubicBezTo>
                  <a:cubicBezTo>
                    <a:pt x="39" y="22"/>
                    <a:pt x="55" y="22"/>
                    <a:pt x="56" y="22"/>
                  </a:cubicBezTo>
                  <a:cubicBezTo>
                    <a:pt x="58" y="22"/>
                    <a:pt x="73" y="22"/>
                    <a:pt x="82" y="33"/>
                  </a:cubicBezTo>
                  <a:cubicBezTo>
                    <a:pt x="89" y="42"/>
                    <a:pt x="90" y="55"/>
                    <a:pt x="86" y="73"/>
                  </a:cubicBezTo>
                  <a:cubicBezTo>
                    <a:pt x="83" y="85"/>
                    <a:pt x="77" y="99"/>
                    <a:pt x="71" y="107"/>
                  </a:cubicBezTo>
                  <a:cubicBezTo>
                    <a:pt x="63" y="118"/>
                    <a:pt x="67" y="142"/>
                    <a:pt x="82" y="153"/>
                  </a:cubicBezTo>
                  <a:cubicBezTo>
                    <a:pt x="82" y="153"/>
                    <a:pt x="83" y="154"/>
                    <a:pt x="83" y="154"/>
                  </a:cubicBezTo>
                  <a:cubicBezTo>
                    <a:pt x="90" y="158"/>
                    <a:pt x="98" y="159"/>
                    <a:pt x="106" y="160"/>
                  </a:cubicBezTo>
                  <a:cubicBezTo>
                    <a:pt x="113" y="161"/>
                    <a:pt x="121" y="162"/>
                    <a:pt x="125" y="165"/>
                  </a:cubicBezTo>
                  <a:cubicBezTo>
                    <a:pt x="127" y="166"/>
                    <a:pt x="129" y="167"/>
                    <a:pt x="131" y="167"/>
                  </a:cubicBezTo>
                  <a:cubicBezTo>
                    <a:pt x="134" y="167"/>
                    <a:pt x="138" y="165"/>
                    <a:pt x="140" y="162"/>
                  </a:cubicBezTo>
                  <a:cubicBezTo>
                    <a:pt x="143" y="157"/>
                    <a:pt x="141" y="150"/>
                    <a:pt x="136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31" name="Chart 30"/>
          <p:cNvGraphicFramePr/>
          <p:nvPr>
            <p:extLst>
              <p:ext uri="{D42A27DB-BD31-4B8C-83A1-F6EECF244321}">
                <p14:modId xmlns:p14="http://schemas.microsoft.com/office/powerpoint/2010/main" val="388467621"/>
              </p:ext>
            </p:extLst>
          </p:nvPr>
        </p:nvGraphicFramePr>
        <p:xfrm>
          <a:off x="8182933" y="1674864"/>
          <a:ext cx="3265279" cy="200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5546992"/>
              </p:ext>
            </p:extLst>
          </p:nvPr>
        </p:nvGraphicFramePr>
        <p:xfrm>
          <a:off x="8340774" y="4285372"/>
          <a:ext cx="3623009" cy="2161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0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63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34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88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60308">
                <a:tc gridSpan="5">
                  <a:txBody>
                    <a:bodyPr/>
                    <a:lstStyle/>
                    <a:p>
                      <a:pPr algn="l"/>
                      <a:r>
                        <a:rPr lang="uk-UA" sz="1800" b="1" noProof="0" dirty="0" smtClean="0">
                          <a:solidFill>
                            <a:schemeClr val="tx1"/>
                          </a:solidFill>
                        </a:rPr>
                        <a:t>Розмір організації</a:t>
                      </a:r>
                      <a:endParaRPr lang="uk-UA" sz="1200" b="1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7180">
                <a:tc>
                  <a:txBody>
                    <a:bodyPr/>
                    <a:lstStyle/>
                    <a:p>
                      <a:pPr marL="0" marR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5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великі</a:t>
                      </a:r>
                      <a:r>
                        <a:rPr lang="uk-UA" sz="105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905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5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до</a:t>
                      </a:r>
                      <a:r>
                        <a:rPr lang="uk-UA" sz="105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05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00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1" rtl="0" eaLnBrk="1" latinLnBrk="0" hangingPunct="1"/>
                      <a:r>
                        <a:rPr lang="uk-UA" sz="105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6</a:t>
                      </a:r>
                      <a:endParaRPr lang="uk-UA" sz="105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l"/>
                      <a:endParaRPr lang="uk-UA" sz="105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3E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uk-UA" sz="2400" noProof="0" dirty="0" smtClean="0">
                          <a:solidFill>
                            <a:schemeClr val="tx1"/>
                          </a:solidFill>
                        </a:rPr>
                        <a:t>47%</a:t>
                      </a:r>
                      <a:endParaRPr lang="uk-UA" sz="24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7180">
                <a:tc>
                  <a:txBody>
                    <a:bodyPr/>
                    <a:lstStyle/>
                    <a:p>
                      <a:pPr algn="l"/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Средниі </a:t>
                      </a:r>
                      <a:b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(від</a:t>
                      </a:r>
                      <a:r>
                        <a:rPr lang="uk-UA" sz="105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1 001 </a:t>
                      </a:r>
                      <a:b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до 10 000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46</a:t>
                      </a:r>
                      <a:endParaRPr lang="uk-UA" sz="105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l"/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29%           </a:t>
                      </a:r>
                      <a:r>
                        <a:rPr lang="uk-UA" sz="1050" baseline="0" noProof="0" dirty="0" smtClean="0">
                          <a:solidFill>
                            <a:schemeClr val="tx1"/>
                          </a:solidFill>
                        </a:rPr>
                        <a:t>  29%</a:t>
                      </a:r>
                      <a:endParaRPr lang="uk-UA" sz="105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7180">
                <a:tc>
                  <a:txBody>
                    <a:bodyPr/>
                    <a:lstStyle/>
                    <a:p>
                      <a:pPr algn="l"/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Великі</a:t>
                      </a:r>
                      <a:b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(більше 10 001)</a:t>
                      </a: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050" noProof="0" dirty="0" smtClean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uk-UA" sz="105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uk-UA" sz="105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3E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uk-UA" sz="1050" noProof="0" dirty="0" smtClean="0"/>
                        <a:t>24%</a:t>
                      </a:r>
                      <a:endParaRPr lang="uk-UA" sz="1050" noProof="0" dirty="0"/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4" name="Rectangle 33"/>
          <p:cNvSpPr/>
          <p:nvPr/>
        </p:nvSpPr>
        <p:spPr bwMode="gray">
          <a:xfrm>
            <a:off x="10152278" y="5366295"/>
            <a:ext cx="805774" cy="474065"/>
          </a:xfrm>
          <a:prstGeom prst="rect">
            <a:avLst/>
          </a:prstGeom>
          <a:solidFill>
            <a:srgbClr val="00A3E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939767" y="5366295"/>
            <a:ext cx="715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29%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0834147" y="5985555"/>
            <a:ext cx="715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24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7866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80959" y="856357"/>
            <a:ext cx="11704563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ільшість серед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ого покоління не сприймає як авторитет державні інституції та медіа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їх впливовість піддається сумніву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ільшість саме </a:t>
            </a:r>
            <a:r>
              <a:rPr lang="uk-UA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ід бізнесу очікують лідерських позицій 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 розвитку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ціуму, а саме їх вплив на суспільство в цілому; бізнес виходить за рамки своєї корпорації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uk-UA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разі більшість 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ацівників компаній належать до покоління М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іленіумів (компанія 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loitte Ukraine, 2017, &lt;80%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: 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магають від компаній підвищення стандартів і віддячують своєю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езмінною </a:t>
            </a:r>
            <a:r>
              <a:rPr lang="uk-UA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ояльністю 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им компаніям, які демонструють </a:t>
            </a:r>
            <a:r>
              <a:rPr lang="uk-UA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ціально-свідомі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ії та прозорість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гато компаній вже відчувають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фект «голої компанії»,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 саме швидкість обміну інформацією та автоматичною реакцією суспільства на дії компанії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яльність та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фективність працівників на разі залежать від цілей компанії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а її взаємовідносин з соціумом – це один із основних </a:t>
            </a:r>
            <a:r>
              <a:rPr lang="uk-UA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тиваторів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Міленіумів;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яльність Міленіумів залежить від розуміння компаній, що робота для них це і є їх життя, це сфера інтересів, кар</a:t>
            </a:r>
            <a:r>
              <a:rPr lang="en-US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’</a:t>
            </a:r>
            <a:r>
              <a:rPr lang="uk-UA" sz="16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є</a:t>
            </a:r>
            <a:r>
              <a:rPr lang="uk-UA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розглядається як можливість отримання нового, цікавого досвіду, а не лише отримання посади; </a:t>
            </a:r>
          </a:p>
          <a:p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 підготуватись – компанії мають переосмислити 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ростання своєї ролі у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успільстві. </a:t>
            </a:r>
            <a:r>
              <a:rPr lang="uk-UA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лученість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лючових 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сіб компанії та їхні зусилля у побудові більш </a:t>
            </a:r>
            <a:r>
              <a:rPr lang="uk-UA" sz="1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ціально відповідальної організації буде тією конкурентною перевагою</a:t>
            </a:r>
            <a:r>
              <a:rPr lang="uk-UA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яка допоможе залучати висококваліфікованих фахівців, підвищувати лояльність клієнтів та підтримувати своє стале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ростання.</a:t>
            </a:r>
            <a:endParaRPr lang="en-US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itle 23"/>
          <p:cNvSpPr txBox="1">
            <a:spLocks/>
          </p:cNvSpPr>
          <p:nvPr/>
        </p:nvSpPr>
        <p:spPr>
          <a:xfrm>
            <a:off x="280959" y="119198"/>
            <a:ext cx="11252200" cy="3341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ра соціальної місії та відповідальності компанії</a:t>
            </a:r>
          </a:p>
          <a:p>
            <a:r>
              <a:rPr lang="uk-UA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іпотези щодо зростання цінності соціального</a:t>
            </a:r>
            <a:endParaRPr lang="en-US" sz="20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27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83" t="38149" r="13611" b="18958"/>
          <a:stretch/>
        </p:blipFill>
        <p:spPr>
          <a:xfrm>
            <a:off x="715390" y="1248508"/>
            <a:ext cx="10554798" cy="346090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72816" y="258207"/>
            <a:ext cx="9313768" cy="11439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14403">
              <a:spcBef>
                <a:spcPts val="544"/>
              </a:spcBef>
              <a:buSzPct val="100000"/>
            </a:pPr>
            <a:r>
              <a:rPr lang="ru-RU" sz="2000" b="1" dirty="0" err="1" smtClean="0">
                <a:solidFill>
                  <a:prstClr val="white"/>
                </a:solidFill>
              </a:rPr>
              <a:t>Цінності</a:t>
            </a:r>
            <a:r>
              <a:rPr lang="ru-RU" sz="2000" b="1" dirty="0" smtClean="0">
                <a:solidFill>
                  <a:prstClr val="white"/>
                </a:solidFill>
              </a:rPr>
              <a:t> </a:t>
            </a:r>
            <a:r>
              <a:rPr lang="ru-RU" sz="2000" b="1" dirty="0" err="1" smtClean="0">
                <a:solidFill>
                  <a:prstClr val="white"/>
                </a:solidFill>
              </a:rPr>
              <a:t>Міленіумів</a:t>
            </a:r>
            <a:r>
              <a:rPr lang="ru-RU" sz="2000" b="1" dirty="0" smtClean="0">
                <a:solidFill>
                  <a:prstClr val="white"/>
                </a:solidFill>
              </a:rPr>
              <a:t> (</a:t>
            </a:r>
            <a:r>
              <a:rPr lang="ru-RU" sz="2000" b="1" dirty="0" err="1" smtClean="0">
                <a:solidFill>
                  <a:prstClr val="white"/>
                </a:solidFill>
              </a:rPr>
              <a:t>Покоління</a:t>
            </a:r>
            <a:r>
              <a:rPr lang="ru-RU" sz="2000" b="1" dirty="0" smtClean="0">
                <a:solidFill>
                  <a:prstClr val="white"/>
                </a:solidFill>
              </a:rPr>
              <a:t> </a:t>
            </a:r>
            <a:r>
              <a:rPr lang="en-US" sz="2000" b="1" dirty="0" smtClean="0">
                <a:solidFill>
                  <a:prstClr val="white"/>
                </a:solidFill>
              </a:rPr>
              <a:t>Y</a:t>
            </a:r>
            <a:r>
              <a:rPr lang="uk-UA" sz="2000" b="1" dirty="0" smtClean="0">
                <a:solidFill>
                  <a:prstClr val="white"/>
                </a:solidFill>
              </a:rPr>
              <a:t>)</a:t>
            </a:r>
            <a:r>
              <a:rPr lang="en-US" sz="2000" b="1" dirty="0" smtClean="0">
                <a:solidFill>
                  <a:prstClr val="white"/>
                </a:solidFill>
              </a:rPr>
              <a:t> </a:t>
            </a:r>
            <a:endParaRPr lang="uk-UA" sz="2000" b="1" dirty="0" smtClean="0">
              <a:solidFill>
                <a:prstClr val="white"/>
              </a:solidFill>
            </a:endParaRPr>
          </a:p>
          <a:p>
            <a:pPr defTabSz="714403">
              <a:spcBef>
                <a:spcPts val="544"/>
              </a:spcBef>
              <a:buSzPct val="100000"/>
            </a:pPr>
            <a:r>
              <a:rPr lang="uk-UA" sz="2000" dirty="0" smtClean="0">
                <a:solidFill>
                  <a:schemeClr val="accent1"/>
                </a:solidFill>
              </a:rPr>
              <a:t>Для покоління Міленіумів цінності є основою при прийнятті рішень*</a:t>
            </a:r>
          </a:p>
          <a:p>
            <a:pPr defTabSz="714403">
              <a:spcBef>
                <a:spcPts val="544"/>
              </a:spcBef>
              <a:buSzPct val="100000"/>
            </a:pPr>
            <a:endParaRPr lang="uk-UA" sz="2000" b="1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31460" y="3436236"/>
            <a:ext cx="2100624" cy="1077218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ctr" defTabSz="714403">
              <a:spcBef>
                <a:spcPts val="544"/>
              </a:spcBef>
              <a:buSzPct val="100000"/>
            </a:pPr>
            <a:r>
              <a:rPr lang="uk-UA" sz="1400" b="1" dirty="0" smtClean="0">
                <a:solidFill>
                  <a:prstClr val="white"/>
                </a:solidFill>
                <a:latin typeface="Verdana"/>
              </a:rPr>
              <a:t>При виборі місця роботи важливим фактором є Цінності та Цілі компанії</a:t>
            </a:r>
            <a:endParaRPr lang="uk-UA" sz="14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24600" y="3467279"/>
            <a:ext cx="2395907" cy="1077218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ctr" defTabSz="714403">
              <a:spcBef>
                <a:spcPts val="544"/>
              </a:spcBef>
              <a:buSzPct val="100000"/>
            </a:pPr>
            <a:r>
              <a:rPr lang="uk-UA" sz="1400" b="1" dirty="0" smtClean="0">
                <a:solidFill>
                  <a:prstClr val="white"/>
                </a:solidFill>
                <a:latin typeface="Verdana"/>
              </a:rPr>
              <a:t>Не будуть виконувати задачу, якщо вона суперечить персональним цінностям</a:t>
            </a:r>
            <a:endParaRPr lang="uk-UA" sz="14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74484" y="3470389"/>
            <a:ext cx="2253303" cy="1141338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ctr" defTabSz="714403">
              <a:spcBef>
                <a:spcPts val="544"/>
              </a:spcBef>
              <a:buSzPct val="100000"/>
            </a:pPr>
            <a:r>
              <a:rPr lang="uk-UA" sz="1400" b="1" dirty="0" smtClean="0">
                <a:solidFill>
                  <a:prstClr val="white"/>
                </a:solidFill>
                <a:latin typeface="Verdana"/>
              </a:rPr>
              <a:t>Персональні цінності дуже впливають на прийняття рішень на роботі</a:t>
            </a:r>
          </a:p>
          <a:p>
            <a:pPr algn="ctr" defTabSz="714403">
              <a:spcBef>
                <a:spcPts val="544"/>
              </a:spcBef>
              <a:buSzPct val="100000"/>
            </a:pPr>
            <a:r>
              <a:rPr lang="uk-UA" sz="1400" b="1" dirty="0" smtClean="0">
                <a:solidFill>
                  <a:prstClr val="white"/>
                </a:solidFill>
                <a:latin typeface="Verdana"/>
              </a:rPr>
              <a:t> </a:t>
            </a:r>
            <a:endParaRPr lang="uk-UA" sz="14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79428" y="3435219"/>
            <a:ext cx="2439118" cy="1141338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algn="ctr" defTabSz="714403">
              <a:spcBef>
                <a:spcPts val="544"/>
              </a:spcBef>
              <a:buSzPct val="100000"/>
            </a:pPr>
            <a:r>
              <a:rPr lang="uk-UA" sz="1400" b="1" dirty="0" smtClean="0">
                <a:solidFill>
                  <a:prstClr val="white"/>
                </a:solidFill>
                <a:latin typeface="Verdana"/>
              </a:rPr>
              <a:t>Категорично не сприймає роботу в конкретній організації виходячи з її цінностей</a:t>
            </a:r>
          </a:p>
          <a:p>
            <a:pPr algn="ctr" defTabSz="714403">
              <a:spcBef>
                <a:spcPts val="544"/>
              </a:spcBef>
              <a:buSzPct val="100000"/>
            </a:pPr>
            <a:endParaRPr lang="uk-UA" sz="1400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792" y="6384611"/>
            <a:ext cx="895614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ru-RU" sz="1050" dirty="0">
                <a:solidFill>
                  <a:schemeClr val="accent1"/>
                </a:solidFill>
              </a:rPr>
              <a:t>*</a:t>
            </a:r>
            <a:r>
              <a:rPr lang="ru-RU" sz="1050" dirty="0" smtClean="0">
                <a:solidFill>
                  <a:schemeClr val="accent1"/>
                </a:solidFill>
              </a:rPr>
              <a:t>результаты </a:t>
            </a:r>
            <a:r>
              <a:rPr lang="uk-UA" sz="1050" dirty="0" smtClean="0">
                <a:solidFill>
                  <a:schemeClr val="accent1"/>
                </a:solidFill>
              </a:rPr>
              <a:t>Опитування</a:t>
            </a:r>
            <a:r>
              <a:rPr lang="ru-RU" sz="1050" dirty="0" smtClean="0">
                <a:solidFill>
                  <a:schemeClr val="accent1"/>
                </a:solidFill>
              </a:rPr>
              <a:t> </a:t>
            </a:r>
            <a:r>
              <a:rPr lang="ru-RU" sz="1050" dirty="0">
                <a:solidFill>
                  <a:schemeClr val="accent1"/>
                </a:solidFill>
              </a:rPr>
              <a:t>Поколения</a:t>
            </a:r>
            <a:r>
              <a:rPr lang="en-US" sz="1050" dirty="0">
                <a:solidFill>
                  <a:schemeClr val="accent1"/>
                </a:solidFill>
              </a:rPr>
              <a:t> Y</a:t>
            </a:r>
            <a:r>
              <a:rPr lang="ru-RU" sz="1050" dirty="0">
                <a:solidFill>
                  <a:schemeClr val="accent1"/>
                </a:solidFill>
              </a:rPr>
              <a:t> (</a:t>
            </a:r>
            <a:r>
              <a:rPr lang="en-US" sz="1050" b="1" dirty="0">
                <a:solidFill>
                  <a:schemeClr val="accent1"/>
                </a:solidFill>
              </a:rPr>
              <a:t>The Deloitte Millennial Survey 2017</a:t>
            </a:r>
            <a:r>
              <a:rPr lang="ru-RU" sz="1050" dirty="0" smtClean="0">
                <a:solidFill>
                  <a:schemeClr val="accent1"/>
                </a:solidFill>
              </a:rPr>
              <a:t>)</a:t>
            </a:r>
            <a:endParaRPr lang="uk-UA" sz="1050" dirty="0">
              <a:solidFill>
                <a:schemeClr val="accent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2816" y="4841666"/>
            <a:ext cx="12024338" cy="12779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uk-UA" sz="16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7% опитаних респондентів називають соціальну відповідальність важливим або дуже важливим чинником</a:t>
            </a:r>
            <a:r>
              <a:rPr lang="uk-UA" sz="1600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uk-UA" sz="16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За даними опитування </a:t>
            </a:r>
            <a:r>
              <a:rPr lang="uk-UA" sz="1600" u="sng" dirty="0" err="1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llennial</a:t>
            </a:r>
            <a:r>
              <a:rPr lang="uk-UA" sz="1600" u="sng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urvey 2017</a:t>
            </a:r>
            <a:r>
              <a:rPr lang="uk-UA" sz="16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мпанії «</a:t>
            </a:r>
            <a:r>
              <a:rPr lang="uk-UA" sz="1600" dirty="0" err="1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лойт</a:t>
            </a:r>
            <a:r>
              <a:rPr lang="uk-UA" sz="16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, дуже високі очікування </a:t>
            </a:r>
            <a:r>
              <a:rPr lang="uk-UA" sz="1600" dirty="0" err="1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лленіалів</a:t>
            </a:r>
            <a:r>
              <a:rPr lang="uk-UA" sz="1600" dirty="0">
                <a:solidFill>
                  <a:schemeClr val="bg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щодо корпоративної відповідальності є значним стимулом – </a:t>
            </a:r>
            <a:r>
              <a:rPr lang="uk-UA" sz="2000" b="1" dirty="0">
                <a:solidFill>
                  <a:schemeClr val="accent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6% опитаних вважають, що бізнес є силою, яка здатна позитивно впливати на суспільство. </a:t>
            </a:r>
            <a:endParaRPr lang="en-US" sz="2000" b="1" dirty="0">
              <a:solidFill>
                <a:schemeClr val="accent1"/>
              </a:solidFill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1504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57980" y="276636"/>
            <a:ext cx="10515600" cy="416540"/>
          </a:xfrm>
        </p:spPr>
        <p:txBody>
          <a:bodyPr>
            <a:normAutofit fontScale="90000"/>
          </a:bodyPr>
          <a:lstStyle/>
          <a:p>
            <a: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ра соціальної місії та відповідальності компанії</a:t>
            </a:r>
            <a:b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uk-UA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нденції</a:t>
            </a:r>
            <a:endParaRPr lang="uk-UA" sz="20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Deloitte Insights   Human Capital Trends 2018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83341" y="1105591"/>
            <a:ext cx="10790903" cy="5056623"/>
          </a:xfrm>
        </p:spPr>
      </p:pic>
    </p:spTree>
    <p:extLst>
      <p:ext uri="{BB962C8B-B14F-4D97-AF65-F5344CB8AC3E}">
        <p14:creationId xmlns:p14="http://schemas.microsoft.com/office/powerpoint/2010/main" val="100173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712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733" y="416917"/>
            <a:ext cx="10515600" cy="696759"/>
          </a:xfrm>
        </p:spPr>
        <p:txBody>
          <a:bodyPr>
            <a:normAutofit fontScale="90000"/>
          </a:bodyPr>
          <a:lstStyle/>
          <a:p>
            <a: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ультати міжнародного дослідження</a:t>
            </a:r>
            <a:b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uk-UA" sz="20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lobal Human Capital Trends 2018</a:t>
            </a:r>
            <a:br>
              <a:rPr lang="uk-UA" sz="20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20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26856"/>
            <a:ext cx="2743200" cy="365125"/>
          </a:xfrm>
        </p:spPr>
        <p:txBody>
          <a:bodyPr/>
          <a:lstStyle/>
          <a:p>
            <a:fld id="{2AEF9113-0904-4E72-9A8A-FC294650923E}" type="slidenum">
              <a:rPr lang="uk-UA" smtClean="0"/>
              <a:t>6</a:t>
            </a:fld>
            <a:endParaRPr lang="uk-UA"/>
          </a:p>
        </p:txBody>
      </p:sp>
      <p:sp>
        <p:nvSpPr>
          <p:cNvPr id="7" name="Rectangle 6"/>
          <p:cNvSpPr/>
          <p:nvPr/>
        </p:nvSpPr>
        <p:spPr>
          <a:xfrm>
            <a:off x="9836793" y="5886611"/>
            <a:ext cx="191962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uk-UA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ваги </a:t>
            </a: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лучення до співпраці різних </a:t>
            </a:r>
            <a:r>
              <a:rPr lang="uk-UA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колінь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l="20989" t="9236" r="33353" b="20063"/>
          <a:stretch/>
        </p:blipFill>
        <p:spPr>
          <a:xfrm>
            <a:off x="9909746" y="4522132"/>
            <a:ext cx="1194116" cy="1080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26995" t="3168" r="23162" b="19758"/>
          <a:stretch/>
        </p:blipFill>
        <p:spPr>
          <a:xfrm>
            <a:off x="532315" y="2300713"/>
            <a:ext cx="1247188" cy="10800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23935" y="3465820"/>
            <a:ext cx="206394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Єдність </a:t>
            </a:r>
            <a:r>
              <a:rPr lang="ru-RU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-</a:t>
            </a: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енеджменту </a:t>
            </a:r>
            <a:r>
              <a:rPr lang="uk-UA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</a:t>
            </a:r>
          </a:p>
          <a:p>
            <a:pPr algn="ctr">
              <a:spcAft>
                <a:spcPts val="0"/>
              </a:spcAft>
            </a:pPr>
            <a:r>
              <a:rPr lang="uk-UA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як </a:t>
            </a: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истецтво самоуправління 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/>
          <a:srcRect l="37129" t="6279" r="27339" b="38325"/>
          <a:stretch/>
        </p:blipFill>
        <p:spPr>
          <a:xfrm>
            <a:off x="7611730" y="2295588"/>
            <a:ext cx="1237031" cy="1080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/>
          <a:srcRect l="26253" t="2954" r="23691" b="1439"/>
          <a:stretch/>
        </p:blipFill>
        <p:spPr>
          <a:xfrm>
            <a:off x="571366" y="4597183"/>
            <a:ext cx="1233701" cy="1080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7459950" y="3537466"/>
            <a:ext cx="168187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косистема </a:t>
            </a:r>
            <a:endParaRPr lang="uk-UA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uk-UA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удових </a:t>
            </a: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сурсів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71366" y="5943757"/>
            <a:ext cx="1297150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і системи </a:t>
            </a:r>
            <a:endParaRPr lang="uk-UA" sz="1100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uk-UA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нагород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97056" y="3502466"/>
            <a:ext cx="118991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інність досвіду </a:t>
            </a:r>
            <a:r>
              <a:rPr lang="en-US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s </a:t>
            </a: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сада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600471" y="5919108"/>
            <a:ext cx="17830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лучен</a:t>
            </a:r>
            <a:r>
              <a:rPr lang="uk-UA" sz="11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ість</a:t>
            </a: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суспільства та соціальний вплив</a:t>
            </a:r>
            <a:endParaRPr lang="en-US" sz="1100" i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122517" y="5919108"/>
            <a:ext cx="146304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бробут та стабільність персоналу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296846" y="5859119"/>
            <a:ext cx="200807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Штучний інтелект, </a:t>
            </a:r>
            <a:r>
              <a:rPr lang="uk-UA" sz="11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ботехніка</a:t>
            </a: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та автоматизація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665726" y="3467574"/>
            <a:ext cx="163365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унікація без меж: працівник завжди на зв</a:t>
            </a:r>
            <a:r>
              <a:rPr lang="ru-RU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’</a:t>
            </a:r>
            <a:r>
              <a:rPr lang="ru-RU" sz="11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язку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988484" y="3571829"/>
            <a:ext cx="192232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0"/>
              </a:spcAft>
            </a:pPr>
            <a:r>
              <a:rPr lang="uk-UA" sz="11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ані про працівників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74" t="12364" r="33737" b="20818"/>
          <a:stretch/>
        </p:blipFill>
        <p:spPr>
          <a:xfrm>
            <a:off x="2897056" y="2295588"/>
            <a:ext cx="1248003" cy="1080000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17" t="20146" r="30483" b="14230"/>
          <a:stretch/>
        </p:blipFill>
        <p:spPr>
          <a:xfrm>
            <a:off x="2872621" y="4597183"/>
            <a:ext cx="1238781" cy="108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51" t="11818" r="36863" b="24909"/>
          <a:stretch/>
        </p:blipFill>
        <p:spPr>
          <a:xfrm>
            <a:off x="5252057" y="4560563"/>
            <a:ext cx="1203960" cy="11160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50" t="-454" r="22410" b="5818"/>
          <a:stretch/>
        </p:blipFill>
        <p:spPr>
          <a:xfrm>
            <a:off x="7674177" y="4541039"/>
            <a:ext cx="1253411" cy="108000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00" t="90" r="26404" b="14546"/>
          <a:stretch/>
        </p:blipFill>
        <p:spPr>
          <a:xfrm>
            <a:off x="9867038" y="2307038"/>
            <a:ext cx="1231029" cy="1080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98" t="5205" r="34916" b="16614"/>
          <a:stretch/>
        </p:blipFill>
        <p:spPr>
          <a:xfrm>
            <a:off x="5232017" y="2310367"/>
            <a:ext cx="1224000" cy="108871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33439" y="920306"/>
            <a:ext cx="1123241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сять тенденцій сфери управління персоналом 2018 року та гіпотези, які спричини появу нового тренду «соціального підприємства» та «соціального лідерства».</a:t>
            </a:r>
            <a:endParaRPr lang="uk-UA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08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7</a:t>
            </a:fld>
            <a:endParaRPr lang="uk-UA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-464" t="17949" r="39987" b="16821"/>
          <a:stretch/>
        </p:blipFill>
        <p:spPr>
          <a:xfrm>
            <a:off x="-137160" y="0"/>
            <a:ext cx="12329160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89560" y="255062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0"/>
              </a:spcAft>
            </a:pPr>
            <a:r>
              <a:rPr lang="uk-UA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ваги залучення до співпраці різних поколінь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89560" y="4249167"/>
            <a:ext cx="108770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uk-UA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Україні  51</a:t>
            </a:r>
            <a:r>
              <a:rPr lang="uk-UA" sz="1800" b="1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вважають тенденцію </a:t>
            </a:r>
            <a:r>
              <a:rPr lang="uk-UA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жливою</a:t>
            </a:r>
            <a:r>
              <a:rPr lang="en-US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endParaRPr lang="uk-UA" sz="1800" b="1" dirty="0" smtClean="0"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uk-UA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але лише 28% підтверджують готовність своєї компанії.</a:t>
            </a:r>
            <a:endParaRPr lang="en-US" sz="1800" b="1" dirty="0"/>
          </a:p>
        </p:txBody>
      </p:sp>
      <p:sp>
        <p:nvSpPr>
          <p:cNvPr id="9" name="Rectangle 8"/>
          <p:cNvSpPr/>
          <p:nvPr/>
        </p:nvSpPr>
        <p:spPr>
          <a:xfrm>
            <a:off x="289560" y="1206294"/>
            <a:ext cx="460690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uk-UA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обально 69% компаній вважають тенденцію урахування і залучення поколінь та надання індивідуального підходу до формування кар</a:t>
            </a:r>
            <a:r>
              <a:rPr lang="en-US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’</a:t>
            </a:r>
            <a:r>
              <a:rPr lang="uk-UA" sz="1800" b="1" dirty="0" err="1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єри</a:t>
            </a:r>
            <a:r>
              <a:rPr lang="uk-UA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ажливою для своєї компанії, та лише 34% визначають свої компанії як такі що готові до такої тенденції.</a:t>
            </a:r>
            <a:endParaRPr lang="uk-UA" sz="1800" b="1" dirty="0" smtClean="0"/>
          </a:p>
        </p:txBody>
      </p:sp>
      <p:sp>
        <p:nvSpPr>
          <p:cNvPr id="10" name="Rectangle 9"/>
          <p:cNvSpPr/>
          <p:nvPr/>
        </p:nvSpPr>
        <p:spPr>
          <a:xfrm>
            <a:off x="289560" y="5276584"/>
            <a:ext cx="65989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uk-UA" sz="18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е 80% компаній вірять, що залучення різних поколінь одночасно та сприяння їх взаємодії є дуже ціннісним для балансу в компанії. </a:t>
            </a:r>
            <a:endParaRPr lang="uk-UA" sz="1800" b="1" dirty="0"/>
          </a:p>
        </p:txBody>
      </p:sp>
    </p:spTree>
    <p:extLst>
      <p:ext uri="{BB962C8B-B14F-4D97-AF65-F5344CB8AC3E}">
        <p14:creationId xmlns:p14="http://schemas.microsoft.com/office/powerpoint/2010/main" val="103690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8</a:t>
            </a:fld>
            <a:endParaRPr lang="uk-UA" dirty="0"/>
          </a:p>
        </p:txBody>
      </p:sp>
      <p:sp>
        <p:nvSpPr>
          <p:cNvPr id="4" name="Rectangle 3"/>
          <p:cNvSpPr/>
          <p:nvPr/>
        </p:nvSpPr>
        <p:spPr>
          <a:xfrm>
            <a:off x="481288" y="917682"/>
            <a:ext cx="11466872" cy="6152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uk-UA" sz="16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блематика: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нутрішні 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 зовнішні соціальні фактори привертають увагу до факту старіння робочої сили у світовому масштабі. </a:t>
            </a:r>
            <a:r>
              <a:rPr lang="uk-UA" sz="1600" b="1" dirty="0">
                <a:solidFill>
                  <a:schemeClr val="accent2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ивалість життя зростає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виникають питання щодо збільшення періоду трудової діяльності, зростання кількості працівників літнього віку та вплив цих змін на економіку та державну </a:t>
            </a: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літику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uk-UA" sz="1600" dirty="0" smtClean="0"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</a:t>
            </a: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мпанії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іксують тенденцію до співпраці в умовах залучення 4-х поколінь</a:t>
            </a: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uk-UA" sz="1600" b="1" dirty="0" smtClean="0"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uk-UA" sz="16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итичні точки: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респондентів зізнаються, що в їхніх компаніях </a:t>
            </a:r>
            <a:r>
              <a:rPr lang="uk-UA" sz="1600" b="1" dirty="0">
                <a:solidFill>
                  <a:schemeClr val="accent2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існує упередження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що працівники похилого віку «заважають» молодим талантам будувати </a:t>
            </a: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р’єру;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endParaRPr lang="uk-UA" sz="1600" dirty="0" smtClean="0"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</a:t>
            </a: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зважаючи 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факт старіння робочої сили по всьому світу та конкурентні переваги фахівців старшого віку, </a:t>
            </a:r>
            <a:r>
              <a:rPr lang="uk-UA" sz="1600" b="1" dirty="0">
                <a:solidFill>
                  <a:schemeClr val="accent2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9% респондентів вказують, що у їхніх компаніях не докладають жодних зусиль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аби допомогти працівникам літнього віку знаходити нові можливості продовження професійної діяльності, а 15% опитуваних вважають таких працівників перешкодою для розвитку молодих спеціалістів. </a:t>
            </a:r>
            <a:endParaRPr lang="uk-UA" sz="1600" dirty="0" smtClean="0"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endParaRPr lang="uk-UA" sz="1600" dirty="0"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uk-UA" sz="1600" b="1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явність тенденції:</a:t>
            </a: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те</a:t>
            </a: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для соціальних підприємств працівники старшого віку залишаються невикористаним ресурсом досвіду та знань, який можна обернути на власну користь. </a:t>
            </a:r>
            <a:endParaRPr lang="uk-UA" sz="1600" dirty="0" smtClean="0"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тримання старшого покоління може привносити баланс у пріоритети та мотиваційні характеристики зростаючої більшості </a:t>
            </a:r>
            <a:r>
              <a:rPr lang="uk-UA" sz="1600" dirty="0" err="1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ленумів</a:t>
            </a:r>
            <a:r>
              <a:rPr lang="uk-UA" sz="1600" dirty="0" smtClean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uk-UA" sz="1600" dirty="0"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1288" y="209796"/>
            <a:ext cx="104915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uk-UA" sz="2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ваги залучення до співпраці різних поколінь</a:t>
            </a:r>
            <a:endParaRPr lang="en-US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Aft>
                <a:spcPts val="0"/>
              </a:spcAft>
            </a:pPr>
            <a:r>
              <a:rPr lang="uk-UA" sz="2000" i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зширення рамок традиційного «робочого віку»</a:t>
            </a:r>
            <a:endParaRPr lang="en-US" sz="2000" i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5091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6068"/>
            <a:ext cx="10515600" cy="564024"/>
          </a:xfrm>
        </p:spPr>
        <p:txBody>
          <a:bodyPr>
            <a:noAutofit/>
          </a:bodyPr>
          <a:lstStyle/>
          <a:p>
            <a: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Які ж перспективи?</a:t>
            </a:r>
            <a:br>
              <a:rPr lang="uk-UA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uk-UA" sz="20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лучення усіх поколінь до компанії</a:t>
            </a:r>
            <a:endParaRPr lang="en-US" sz="20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EF9113-0904-4E72-9A8A-FC294650923E}" type="slidenum">
              <a:rPr lang="uk-UA" smtClean="0"/>
              <a:t>9</a:t>
            </a:fld>
            <a:endParaRPr lang="uk-UA"/>
          </a:p>
        </p:txBody>
      </p:sp>
      <p:sp>
        <p:nvSpPr>
          <p:cNvPr id="5" name="Rectangle 4"/>
          <p:cNvSpPr/>
          <p:nvPr/>
        </p:nvSpPr>
        <p:spPr>
          <a:xfrm>
            <a:off x="457200" y="840092"/>
            <a:ext cx="11500338" cy="587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користання можливостей всіх поколінь – ера роботи 4-х поколінь одночасно дає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міни до стратегії HR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– включаючи різноманітність в системі набору персоналу, оплати праці, його мотивації і подальший розвиток. Компанія повинна враховувати різноманіття ціннісних орієнтирів для різних поколінь.</a:t>
            </a: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вголіття перетворюється на перевагу і дозволяє компаніям вирішувати нагальну соціальну проблему, використовуючи перевірених, відданих справі працівників. Однак для цього потрібно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інноваційна практика для підтримки подовження кар'єри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а також співробітництво між бізнес-лідерами та працівниками для вирішення спільних проблем, таких як упередженість до співробітників через вік.</a:t>
            </a: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мпаніям необхідно продумувати і розробляти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і моделі кар'єри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так як багато знань швидко застарівають, але співробітники зі значним досвідом продовжують мати вагу як в кар'єрі так і в передачі досвіду. Компанії відходять від </a:t>
            </a:r>
            <a:r>
              <a:rPr lang="uk-UA" sz="16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рпоративно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центрованих систем розвитку до індивідуального підходу в розвитку і навчанні.</a:t>
            </a: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арше покоління добре виконує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ль ментора, </a:t>
            </a:r>
            <a:r>
              <a:rPr lang="uk-UA" sz="1600" b="1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уча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збереження експертизи в компанії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при цьому не порушуючи амбіції поколінь.</a:t>
            </a:r>
          </a:p>
          <a:p>
            <a:pPr lvl="0">
              <a:spcAft>
                <a:spcPts val="600"/>
              </a:spcAft>
            </a:pPr>
            <a:endParaRPr lang="uk-UA" sz="16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итання </a:t>
            </a:r>
            <a:r>
              <a:rPr lang="uk-UA" sz="16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інтеграції 4-х поколінь одночасно </a:t>
            </a:r>
            <a:r>
              <a:rPr lang="uk-UA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також є сучасним викликом для компанії – та соціальною місією – щодо толерантності та лояльності у соціумі.</a:t>
            </a:r>
          </a:p>
        </p:txBody>
      </p:sp>
    </p:spTree>
    <p:extLst>
      <p:ext uri="{BB962C8B-B14F-4D97-AF65-F5344CB8AC3E}">
        <p14:creationId xmlns:p14="http://schemas.microsoft.com/office/powerpoint/2010/main" val="3830151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Widescreen RU ZAO.potx" id="{18C2A973-D4D5-4A5D-A9A0-A3852D3342B9}" vid="{8F815ECC-1DBB-40FE-86C2-3E5CF85A50D8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 Divider color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Widescreen RU ZAO.potx" id="{18C2A973-D4D5-4A5D-A9A0-A3852D3342B9}" vid="{5E9C7241-90D7-4D62-81B4-54AFA52D7DAB}"/>
    </a:ext>
  </a:extLst>
</a:theme>
</file>

<file path=ppt/theme/theme4.xml><?xml version="1.0" encoding="utf-8"?>
<a:theme xmlns:a="http://schemas.openxmlformats.org/drawingml/2006/main" name="4 Copyright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Widescreen RU ZAO.potx" id="{18C2A973-D4D5-4A5D-A9A0-A3852D3342B9}" vid="{FA60970E-4FDB-402E-8062-68B44619F9CB}"/>
    </a:ext>
  </a:extLst>
</a:theme>
</file>

<file path=ppt/theme/theme5.xml><?xml version="1.0" encoding="utf-8"?>
<a:theme xmlns:a="http://schemas.openxmlformats.org/drawingml/2006/main" name="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3E4F19A7-A959-40BB-972C-4880BAF8EB09}"/>
    </a:ext>
  </a:extLst>
</a:theme>
</file>

<file path=ppt/theme/theme6.xml><?xml version="1.0" encoding="utf-8"?>
<a:theme xmlns:a="http://schemas.openxmlformats.org/drawingml/2006/main" name="1_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2" id="{53BD6597-EFB0-46B7-BADE-0821E8120F9A}" vid="{0567568F-ABAF-43BC-9031-63FF074337DE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descreen RU ZAO</Template>
  <TotalTime>12080</TotalTime>
  <Words>1074</Words>
  <Application>Microsoft Office PowerPoint</Application>
  <PresentationFormat>Widescreen</PresentationFormat>
  <Paragraphs>126</Paragraphs>
  <Slides>11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6" baseType="lpstr">
      <vt:lpstr>Arial</vt:lpstr>
      <vt:lpstr>Calibri</vt:lpstr>
      <vt:lpstr>Calibri Light</vt:lpstr>
      <vt:lpstr>Open Sans</vt:lpstr>
      <vt:lpstr>Times New Roman</vt:lpstr>
      <vt:lpstr>Verdana</vt:lpstr>
      <vt:lpstr>Wingdings</vt:lpstr>
      <vt:lpstr>Wingdings 2</vt:lpstr>
      <vt:lpstr>1 Title</vt:lpstr>
      <vt:lpstr>Custom Design</vt:lpstr>
      <vt:lpstr>3 Divider color</vt:lpstr>
      <vt:lpstr>4 Copyright</vt:lpstr>
      <vt:lpstr>Office Theme</vt:lpstr>
      <vt:lpstr>1_1 Title</vt:lpstr>
      <vt:lpstr>think-cell Slide</vt:lpstr>
      <vt:lpstr>PowerPoint Presentation</vt:lpstr>
      <vt:lpstr>Про дослідження 2018 року</vt:lpstr>
      <vt:lpstr>PowerPoint Presentation</vt:lpstr>
      <vt:lpstr>PowerPoint Presentation</vt:lpstr>
      <vt:lpstr>Ера соціальної місії та відповідальності компанії Тенденції</vt:lpstr>
      <vt:lpstr>Результати міжнародного дослідження Global Human Capital Trends 2018 </vt:lpstr>
      <vt:lpstr>PowerPoint Presentation</vt:lpstr>
      <vt:lpstr>PowerPoint Presentation</vt:lpstr>
      <vt:lpstr>Які ж перспективи? Залучення усіх поколінь до компанії</vt:lpstr>
      <vt:lpstr>PowerPoint Presentation</vt:lpstr>
      <vt:lpstr>PowerPoint Presentation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oitte</dc:creator>
  <cp:lastModifiedBy>Radchuk, Tatiana (UA - Kyiv)</cp:lastModifiedBy>
  <cp:revision>271</cp:revision>
  <cp:lastPrinted>2017-04-06T06:24:16Z</cp:lastPrinted>
  <dcterms:created xsi:type="dcterms:W3CDTF">2017-04-03T11:54:52Z</dcterms:created>
  <dcterms:modified xsi:type="dcterms:W3CDTF">2018-05-17T10:35:05Z</dcterms:modified>
</cp:coreProperties>
</file>